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9" r:id="rId5"/>
  </p:sldMasterIdLst>
  <p:notesMasterIdLst>
    <p:notesMasterId r:id="rId32"/>
  </p:notesMasterIdLst>
  <p:sldIdLst>
    <p:sldId id="256" r:id="rId6"/>
    <p:sldId id="369" r:id="rId7"/>
    <p:sldId id="370" r:id="rId8"/>
    <p:sldId id="388" r:id="rId9"/>
    <p:sldId id="384" r:id="rId10"/>
    <p:sldId id="385" r:id="rId11"/>
    <p:sldId id="386" r:id="rId12"/>
    <p:sldId id="291" r:id="rId13"/>
    <p:sldId id="444" r:id="rId14"/>
    <p:sldId id="357" r:id="rId15"/>
    <p:sldId id="304" r:id="rId16"/>
    <p:sldId id="329" r:id="rId17"/>
    <p:sldId id="306" r:id="rId18"/>
    <p:sldId id="307" r:id="rId19"/>
    <p:sldId id="445" r:id="rId20"/>
    <p:sldId id="392" r:id="rId21"/>
    <p:sldId id="311" r:id="rId22"/>
    <p:sldId id="313" r:id="rId23"/>
    <p:sldId id="315" r:id="rId24"/>
    <p:sldId id="341" r:id="rId25"/>
    <p:sldId id="347" r:id="rId26"/>
    <p:sldId id="345" r:id="rId27"/>
    <p:sldId id="342" r:id="rId28"/>
    <p:sldId id="449" r:id="rId29"/>
    <p:sldId id="446" r:id="rId30"/>
    <p:sldId id="442" r:id="rId3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istine Torjesen" initials="KT" lastIdx="5" clrIdx="0">
    <p:extLst>
      <p:ext uri="{19B8F6BF-5375-455C-9EA6-DF929625EA0E}">
        <p15:presenceInfo xmlns:p15="http://schemas.microsoft.com/office/powerpoint/2012/main" userId="Kristine Torjesen" providerId="None"/>
      </p:ext>
    </p:extLst>
  </p:cmAuthor>
  <p:cmAuthor id="2" name="ZIN" initials="Z" lastIdx="10" clrIdx="1">
    <p:extLst>
      <p:ext uri="{19B8F6BF-5375-455C-9EA6-DF929625EA0E}">
        <p15:presenceInfo xmlns:p15="http://schemas.microsoft.com/office/powerpoint/2012/main" userId="Z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178793"/>
    <a:srgbClr val="10394B"/>
    <a:srgbClr val="00486D"/>
    <a:srgbClr val="009999"/>
    <a:srgbClr val="000000"/>
    <a:srgbClr val="DB5520"/>
    <a:srgbClr val="CCFFFF"/>
    <a:srgbClr val="003366"/>
    <a:srgbClr val="99AB21"/>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78324" autoAdjust="0"/>
  </p:normalViewPr>
  <p:slideViewPr>
    <p:cSldViewPr snapToGrid="0" snapToObjects="1">
      <p:cViewPr varScale="1">
        <p:scale>
          <a:sx n="92" d="100"/>
          <a:sy n="92" d="100"/>
        </p:scale>
        <p:origin x="1000" y="192"/>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6A3E51-FE6E-4FA7-9356-66B85B5E96EA}"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B5B486D5-32D8-4A06-B7A4-A163C7546D94}">
      <dgm:prSet phldrT="[Text]" custT="1"/>
      <dgm:spPr>
        <a:ln>
          <a:solidFill>
            <a:srgbClr val="008080"/>
          </a:solidFill>
        </a:ln>
      </dgm:spPr>
      <dgm:t>
        <a:bodyPr/>
        <a:lstStyle/>
        <a:p>
          <a:r>
            <a:rPr lang="en-US" sz="1800" dirty="0"/>
            <a:t>Marital</a:t>
          </a:r>
        </a:p>
      </dgm:t>
    </dgm:pt>
    <dgm:pt modelId="{2867D9D3-6BE1-43AB-8D01-C593AEF7B741}" type="parTrans" cxnId="{A94E2F4E-5817-44D5-8D7A-BFD2344A8CF3}">
      <dgm:prSet/>
      <dgm:spPr/>
      <dgm:t>
        <a:bodyPr/>
        <a:lstStyle/>
        <a:p>
          <a:endParaRPr lang="en-US" sz="5400"/>
        </a:p>
      </dgm:t>
    </dgm:pt>
    <dgm:pt modelId="{D2631407-BBDB-4A5C-B07E-685CF90002E4}" type="sibTrans" cxnId="{A94E2F4E-5817-44D5-8D7A-BFD2344A8CF3}">
      <dgm:prSet/>
      <dgm:spPr/>
      <dgm:t>
        <a:bodyPr/>
        <a:lstStyle/>
        <a:p>
          <a:endParaRPr lang="en-US" sz="5400"/>
        </a:p>
      </dgm:t>
    </dgm:pt>
    <dgm:pt modelId="{F7F60FF1-6EF5-42B3-8F3B-B589ED2C947F}">
      <dgm:prSet phldrT="[Text]" custT="1"/>
      <dgm:spPr>
        <a:ln>
          <a:solidFill>
            <a:srgbClr val="008080"/>
          </a:solidFill>
        </a:ln>
      </dgm:spPr>
      <dgm:t>
        <a:bodyPr/>
        <a:lstStyle/>
        <a:p>
          <a:r>
            <a:rPr lang="en-US" sz="1800" dirty="0"/>
            <a:t>Informal</a:t>
          </a:r>
        </a:p>
      </dgm:t>
    </dgm:pt>
    <dgm:pt modelId="{5F09BD09-B02B-43A6-A21E-9E8C2B481AF8}" type="parTrans" cxnId="{98B773AF-05B2-474A-9A45-18327A7DDBF7}">
      <dgm:prSet/>
      <dgm:spPr/>
      <dgm:t>
        <a:bodyPr/>
        <a:lstStyle/>
        <a:p>
          <a:endParaRPr lang="en-US" sz="5400"/>
        </a:p>
      </dgm:t>
    </dgm:pt>
    <dgm:pt modelId="{6D8F98F0-F2EB-4140-8479-F39E589ED170}" type="sibTrans" cxnId="{98B773AF-05B2-474A-9A45-18327A7DDBF7}">
      <dgm:prSet/>
      <dgm:spPr/>
      <dgm:t>
        <a:bodyPr/>
        <a:lstStyle/>
        <a:p>
          <a:endParaRPr lang="en-US" sz="5400"/>
        </a:p>
      </dgm:t>
    </dgm:pt>
    <dgm:pt modelId="{1FCFA162-AE4B-48EC-BAE8-BB7B026E3318}">
      <dgm:prSet phldrT="[Text]" custT="1"/>
      <dgm:spPr>
        <a:ln>
          <a:solidFill>
            <a:srgbClr val="008080"/>
          </a:solidFill>
        </a:ln>
      </dgm:spPr>
      <dgm:t>
        <a:bodyPr/>
        <a:lstStyle/>
        <a:p>
          <a:r>
            <a:rPr lang="en-US" sz="1800" dirty="0"/>
            <a:t>Transitory</a:t>
          </a:r>
        </a:p>
      </dgm:t>
    </dgm:pt>
    <dgm:pt modelId="{A9ED3542-E466-4FAF-A1C0-8C632541CF24}" type="parTrans" cxnId="{1134AED3-8782-44A9-95E7-C7C17A46206B}">
      <dgm:prSet/>
      <dgm:spPr/>
      <dgm:t>
        <a:bodyPr/>
        <a:lstStyle/>
        <a:p>
          <a:endParaRPr lang="en-US" sz="5400"/>
        </a:p>
      </dgm:t>
    </dgm:pt>
    <dgm:pt modelId="{E645FBE6-9C35-4761-B753-1EBD6EDE7202}" type="sibTrans" cxnId="{1134AED3-8782-44A9-95E7-C7C17A46206B}">
      <dgm:prSet/>
      <dgm:spPr/>
      <dgm:t>
        <a:bodyPr/>
        <a:lstStyle/>
        <a:p>
          <a:endParaRPr lang="en-US" sz="5400"/>
        </a:p>
      </dgm:t>
    </dgm:pt>
    <dgm:pt modelId="{E0558590-FF6C-4CD4-ADBA-372AC0C768EE}">
      <dgm:prSet phldrT="[Text]" custT="1"/>
      <dgm:spPr>
        <a:ln>
          <a:solidFill>
            <a:srgbClr val="008080"/>
          </a:solidFill>
        </a:ln>
      </dgm:spPr>
      <dgm:t>
        <a:bodyPr/>
        <a:lstStyle/>
        <a:p>
          <a:r>
            <a:rPr lang="en-US" sz="1800" dirty="0"/>
            <a:t>Commercial</a:t>
          </a:r>
        </a:p>
      </dgm:t>
    </dgm:pt>
    <dgm:pt modelId="{EEDDA17D-4C8E-451A-9B18-1B826F79E7BF}" type="parTrans" cxnId="{D2C2C70C-25EF-49BE-A421-C50D671831C9}">
      <dgm:prSet/>
      <dgm:spPr/>
      <dgm:t>
        <a:bodyPr/>
        <a:lstStyle/>
        <a:p>
          <a:endParaRPr lang="en-US" sz="5400"/>
        </a:p>
      </dgm:t>
    </dgm:pt>
    <dgm:pt modelId="{C1449FC8-7917-4D44-AEAF-D2E6D601DDE6}" type="sibTrans" cxnId="{D2C2C70C-25EF-49BE-A421-C50D671831C9}">
      <dgm:prSet/>
      <dgm:spPr/>
      <dgm:t>
        <a:bodyPr/>
        <a:lstStyle/>
        <a:p>
          <a:endParaRPr lang="en-US" sz="5400"/>
        </a:p>
      </dgm:t>
    </dgm:pt>
    <dgm:pt modelId="{15261002-274F-45BB-BF08-7A3108673804}">
      <dgm:prSet phldrT="[Text]" custT="1"/>
      <dgm:spPr>
        <a:ln>
          <a:solidFill>
            <a:srgbClr val="008080"/>
          </a:solidFill>
        </a:ln>
      </dgm:spPr>
      <dgm:t>
        <a:bodyPr/>
        <a:lstStyle/>
        <a:p>
          <a:r>
            <a:rPr lang="en-US" sz="1400" dirty="0"/>
            <a:t>Longest duration</a:t>
          </a:r>
        </a:p>
      </dgm:t>
    </dgm:pt>
    <dgm:pt modelId="{9D61BEC6-AA4F-4F0E-94CD-373BD28C068C}" type="parTrans" cxnId="{2596B03C-D4B7-41A9-AD2E-F36DC899EBA7}">
      <dgm:prSet/>
      <dgm:spPr/>
      <dgm:t>
        <a:bodyPr/>
        <a:lstStyle/>
        <a:p>
          <a:endParaRPr lang="en-US" sz="5400"/>
        </a:p>
      </dgm:t>
    </dgm:pt>
    <dgm:pt modelId="{2C1DCB2E-A357-4FF1-8324-4612885C5681}" type="sibTrans" cxnId="{2596B03C-D4B7-41A9-AD2E-F36DC899EBA7}">
      <dgm:prSet/>
      <dgm:spPr/>
      <dgm:t>
        <a:bodyPr/>
        <a:lstStyle/>
        <a:p>
          <a:endParaRPr lang="en-US" sz="5400"/>
        </a:p>
      </dgm:t>
    </dgm:pt>
    <dgm:pt modelId="{95522EA3-0AAD-4691-90CC-0E745DA4C2B5}">
      <dgm:prSet phldrT="[Text]" custT="1"/>
      <dgm:spPr>
        <a:ln>
          <a:solidFill>
            <a:srgbClr val="008080"/>
          </a:solidFill>
        </a:ln>
      </dgm:spPr>
      <dgm:t>
        <a:bodyPr/>
        <a:lstStyle/>
        <a:p>
          <a:r>
            <a:rPr lang="en-US" sz="1400" dirty="0"/>
            <a:t>Oldest age at formation</a:t>
          </a:r>
        </a:p>
      </dgm:t>
    </dgm:pt>
    <dgm:pt modelId="{E609BD38-F545-427C-BF74-3DC029F98CC6}" type="parTrans" cxnId="{B29DF477-9F78-410B-9CD7-FC680F026415}">
      <dgm:prSet/>
      <dgm:spPr/>
      <dgm:t>
        <a:bodyPr/>
        <a:lstStyle/>
        <a:p>
          <a:endParaRPr lang="en-US" sz="5400"/>
        </a:p>
      </dgm:t>
    </dgm:pt>
    <dgm:pt modelId="{F016118A-D138-4721-870D-CF39437F6320}" type="sibTrans" cxnId="{B29DF477-9F78-410B-9CD7-FC680F026415}">
      <dgm:prSet/>
      <dgm:spPr/>
      <dgm:t>
        <a:bodyPr/>
        <a:lstStyle/>
        <a:p>
          <a:endParaRPr lang="en-US" sz="5400"/>
        </a:p>
      </dgm:t>
    </dgm:pt>
    <dgm:pt modelId="{25A2496D-0F4C-42CB-95FC-865869F262F7}">
      <dgm:prSet phldrT="[Text]" custT="1"/>
      <dgm:spPr>
        <a:ln>
          <a:solidFill>
            <a:srgbClr val="008080"/>
          </a:solidFill>
        </a:ln>
      </dgm:spPr>
      <dgm:t>
        <a:bodyPr/>
        <a:lstStyle/>
        <a:p>
          <a:r>
            <a:rPr lang="en-US" sz="1400" dirty="0"/>
            <a:t>Large gap, women younger than men</a:t>
          </a:r>
        </a:p>
      </dgm:t>
    </dgm:pt>
    <dgm:pt modelId="{BA1A96EB-E6DA-4C40-90B0-49322DC1A5FF}" type="parTrans" cxnId="{B3F7E26D-6DA1-47E8-A059-6B6A388F2C02}">
      <dgm:prSet/>
      <dgm:spPr/>
      <dgm:t>
        <a:bodyPr/>
        <a:lstStyle/>
        <a:p>
          <a:endParaRPr lang="en-US" sz="5400"/>
        </a:p>
      </dgm:t>
    </dgm:pt>
    <dgm:pt modelId="{3F103F7A-B4B5-4FE1-856B-223862A8565C}" type="sibTrans" cxnId="{B3F7E26D-6DA1-47E8-A059-6B6A388F2C02}">
      <dgm:prSet/>
      <dgm:spPr/>
      <dgm:t>
        <a:bodyPr/>
        <a:lstStyle/>
        <a:p>
          <a:endParaRPr lang="en-US" sz="5400"/>
        </a:p>
      </dgm:t>
    </dgm:pt>
    <dgm:pt modelId="{6EF1A497-48B1-4DAC-A361-7DF22A1C7183}">
      <dgm:prSet phldrT="[Text]" custT="1"/>
      <dgm:spPr>
        <a:ln>
          <a:solidFill>
            <a:srgbClr val="008080"/>
          </a:solidFill>
        </a:ln>
      </dgm:spPr>
      <dgm:t>
        <a:bodyPr/>
        <a:lstStyle/>
        <a:p>
          <a:r>
            <a:rPr lang="en-US" sz="1400" dirty="0"/>
            <a:t>Lowest probability of multiple partnerships</a:t>
          </a:r>
        </a:p>
      </dgm:t>
    </dgm:pt>
    <dgm:pt modelId="{52FA8208-33A2-4193-A318-F4B2094E5A94}" type="parTrans" cxnId="{B19E6B68-7CE7-425D-90DA-43E850BAA508}">
      <dgm:prSet/>
      <dgm:spPr/>
      <dgm:t>
        <a:bodyPr/>
        <a:lstStyle/>
        <a:p>
          <a:endParaRPr lang="en-US" sz="5400"/>
        </a:p>
      </dgm:t>
    </dgm:pt>
    <dgm:pt modelId="{00D050C4-DD55-4149-8E46-2F5AA6096557}" type="sibTrans" cxnId="{B19E6B68-7CE7-425D-90DA-43E850BAA508}">
      <dgm:prSet/>
      <dgm:spPr/>
      <dgm:t>
        <a:bodyPr/>
        <a:lstStyle/>
        <a:p>
          <a:endParaRPr lang="en-US" sz="5400"/>
        </a:p>
      </dgm:t>
    </dgm:pt>
    <dgm:pt modelId="{FB9A311F-9E90-4037-AB06-561C5E715757}">
      <dgm:prSet phldrT="[Text]" custT="1"/>
      <dgm:spPr>
        <a:ln>
          <a:solidFill>
            <a:srgbClr val="008080"/>
          </a:solidFill>
        </a:ln>
      </dgm:spPr>
      <dgm:t>
        <a:bodyPr/>
        <a:lstStyle/>
        <a:p>
          <a:r>
            <a:rPr lang="en-US" sz="1400" dirty="0"/>
            <a:t>Medium duration</a:t>
          </a:r>
        </a:p>
      </dgm:t>
    </dgm:pt>
    <dgm:pt modelId="{2939ADC9-3944-485C-81FE-DF96CCC982C5}" type="parTrans" cxnId="{E39FD3B1-3AC4-49D9-AC29-3C3C3BFEFA9A}">
      <dgm:prSet/>
      <dgm:spPr/>
      <dgm:t>
        <a:bodyPr/>
        <a:lstStyle/>
        <a:p>
          <a:endParaRPr lang="en-US" sz="5400"/>
        </a:p>
      </dgm:t>
    </dgm:pt>
    <dgm:pt modelId="{23D59B75-6946-43CE-A0D5-D4248A180012}" type="sibTrans" cxnId="{E39FD3B1-3AC4-49D9-AC29-3C3C3BFEFA9A}">
      <dgm:prSet/>
      <dgm:spPr/>
      <dgm:t>
        <a:bodyPr/>
        <a:lstStyle/>
        <a:p>
          <a:endParaRPr lang="en-US" sz="5400"/>
        </a:p>
      </dgm:t>
    </dgm:pt>
    <dgm:pt modelId="{745E92EA-0C72-4E24-9942-3639C37E6A56}">
      <dgm:prSet phldrT="[Text]" custT="1"/>
      <dgm:spPr>
        <a:ln>
          <a:solidFill>
            <a:srgbClr val="008080"/>
          </a:solidFill>
        </a:ln>
      </dgm:spPr>
      <dgm:t>
        <a:bodyPr/>
        <a:lstStyle/>
        <a:p>
          <a:r>
            <a:rPr lang="en-US" sz="1400" dirty="0"/>
            <a:t>Intermediate age</a:t>
          </a:r>
        </a:p>
      </dgm:t>
    </dgm:pt>
    <dgm:pt modelId="{86D0F0AC-1C5A-4FC0-977A-B8E403291C32}" type="parTrans" cxnId="{369E1953-614F-4962-A15E-51DEBA7194D7}">
      <dgm:prSet/>
      <dgm:spPr/>
      <dgm:t>
        <a:bodyPr/>
        <a:lstStyle/>
        <a:p>
          <a:endParaRPr lang="en-US" sz="5400"/>
        </a:p>
      </dgm:t>
    </dgm:pt>
    <dgm:pt modelId="{4EBC0769-6C63-4446-AC12-CF622050EBC6}" type="sibTrans" cxnId="{369E1953-614F-4962-A15E-51DEBA7194D7}">
      <dgm:prSet/>
      <dgm:spPr/>
      <dgm:t>
        <a:bodyPr/>
        <a:lstStyle/>
        <a:p>
          <a:endParaRPr lang="en-US" sz="5400"/>
        </a:p>
      </dgm:t>
    </dgm:pt>
    <dgm:pt modelId="{6867D1AB-589A-4AEA-AB07-DA6E2CACA24F}">
      <dgm:prSet phldrT="[Text]" custT="1"/>
      <dgm:spPr>
        <a:ln>
          <a:solidFill>
            <a:srgbClr val="008080"/>
          </a:solidFill>
        </a:ln>
      </dgm:spPr>
      <dgm:t>
        <a:bodyPr/>
        <a:lstStyle/>
        <a:p>
          <a:r>
            <a:rPr lang="en-US" sz="1400" dirty="0"/>
            <a:t>Medium probability of multiple partnerships</a:t>
          </a:r>
        </a:p>
      </dgm:t>
    </dgm:pt>
    <dgm:pt modelId="{C89D7F78-2DB7-4A30-A60C-72B52C25BB3D}" type="parTrans" cxnId="{A23D43D3-BE58-47B8-8E22-291DBF70EBE4}">
      <dgm:prSet/>
      <dgm:spPr/>
      <dgm:t>
        <a:bodyPr/>
        <a:lstStyle/>
        <a:p>
          <a:endParaRPr lang="en-US" sz="5400"/>
        </a:p>
      </dgm:t>
    </dgm:pt>
    <dgm:pt modelId="{1281E6C3-C0EA-4D3A-95EF-3C4165B01257}" type="sibTrans" cxnId="{A23D43D3-BE58-47B8-8E22-291DBF70EBE4}">
      <dgm:prSet/>
      <dgm:spPr/>
      <dgm:t>
        <a:bodyPr/>
        <a:lstStyle/>
        <a:p>
          <a:endParaRPr lang="en-US" sz="5400"/>
        </a:p>
      </dgm:t>
    </dgm:pt>
    <dgm:pt modelId="{5D6F5ED1-CF17-440E-8DB6-ADCD5E7BB223}">
      <dgm:prSet phldrT="[Text]" custT="1"/>
      <dgm:spPr>
        <a:ln>
          <a:solidFill>
            <a:srgbClr val="008080"/>
          </a:solidFill>
        </a:ln>
      </dgm:spPr>
      <dgm:t>
        <a:bodyPr/>
        <a:lstStyle/>
        <a:p>
          <a:r>
            <a:rPr lang="en-US" sz="1400" dirty="0"/>
            <a:t>Shorter duration (~1 year)</a:t>
          </a:r>
        </a:p>
      </dgm:t>
    </dgm:pt>
    <dgm:pt modelId="{DDBBAB9E-10B6-40F9-A5DB-44D21F7E46AE}" type="parTrans" cxnId="{FBE79076-63A3-4A91-8021-FE8F1E9D1BC0}">
      <dgm:prSet/>
      <dgm:spPr/>
      <dgm:t>
        <a:bodyPr/>
        <a:lstStyle/>
        <a:p>
          <a:endParaRPr lang="en-US" sz="5400"/>
        </a:p>
      </dgm:t>
    </dgm:pt>
    <dgm:pt modelId="{3398B1F5-D183-4FDF-A8B6-B67E5BAE4ACB}" type="sibTrans" cxnId="{FBE79076-63A3-4A91-8021-FE8F1E9D1BC0}">
      <dgm:prSet/>
      <dgm:spPr/>
      <dgm:t>
        <a:bodyPr/>
        <a:lstStyle/>
        <a:p>
          <a:endParaRPr lang="en-US" sz="5400"/>
        </a:p>
      </dgm:t>
    </dgm:pt>
    <dgm:pt modelId="{3B6629CF-BB10-4432-9479-17FF1F03EEF7}">
      <dgm:prSet phldrT="[Text]" custT="1"/>
      <dgm:spPr>
        <a:ln>
          <a:solidFill>
            <a:srgbClr val="008080"/>
          </a:solidFill>
        </a:ln>
      </dgm:spPr>
      <dgm:t>
        <a:bodyPr/>
        <a:lstStyle/>
        <a:p>
          <a:r>
            <a:rPr lang="en-US" sz="1400" dirty="0"/>
            <a:t>Young age at formation</a:t>
          </a:r>
        </a:p>
      </dgm:t>
    </dgm:pt>
    <dgm:pt modelId="{47C94F20-FFD8-47C7-8950-D8AD87548620}" type="parTrans" cxnId="{E05F0773-F3D9-4816-8A1C-7EE415106AEB}">
      <dgm:prSet/>
      <dgm:spPr/>
      <dgm:t>
        <a:bodyPr/>
        <a:lstStyle/>
        <a:p>
          <a:endParaRPr lang="en-US" sz="5400"/>
        </a:p>
      </dgm:t>
    </dgm:pt>
    <dgm:pt modelId="{8EEB8CBF-2B75-4E5F-AC41-38FA4132AD46}" type="sibTrans" cxnId="{E05F0773-F3D9-4816-8A1C-7EE415106AEB}">
      <dgm:prSet/>
      <dgm:spPr/>
      <dgm:t>
        <a:bodyPr/>
        <a:lstStyle/>
        <a:p>
          <a:endParaRPr lang="en-US" sz="5400"/>
        </a:p>
      </dgm:t>
    </dgm:pt>
    <dgm:pt modelId="{122599F2-4BDC-4F65-9DA2-DE9CC0AA1A29}">
      <dgm:prSet phldrT="[Text]" custT="1"/>
      <dgm:spPr>
        <a:ln>
          <a:solidFill>
            <a:srgbClr val="008080"/>
          </a:solidFill>
        </a:ln>
      </dgm:spPr>
      <dgm:t>
        <a:bodyPr/>
        <a:lstStyle/>
        <a:p>
          <a:r>
            <a:rPr lang="en-US" sz="1400" dirty="0"/>
            <a:t>Small age gap</a:t>
          </a:r>
        </a:p>
      </dgm:t>
    </dgm:pt>
    <dgm:pt modelId="{EEAD282C-BE15-490A-A4B6-C35803EF661F}" type="parTrans" cxnId="{558440AE-43D5-4E97-B1D3-E2107CA44BAB}">
      <dgm:prSet/>
      <dgm:spPr/>
      <dgm:t>
        <a:bodyPr/>
        <a:lstStyle/>
        <a:p>
          <a:endParaRPr lang="en-US" sz="5400"/>
        </a:p>
      </dgm:t>
    </dgm:pt>
    <dgm:pt modelId="{D41C1914-4552-4895-BA71-6341C3971F98}" type="sibTrans" cxnId="{558440AE-43D5-4E97-B1D3-E2107CA44BAB}">
      <dgm:prSet/>
      <dgm:spPr/>
      <dgm:t>
        <a:bodyPr/>
        <a:lstStyle/>
        <a:p>
          <a:endParaRPr lang="en-US" sz="5400"/>
        </a:p>
      </dgm:t>
    </dgm:pt>
    <dgm:pt modelId="{25BE08DC-B313-4A9A-8D7A-F77C3DF26F8B}">
      <dgm:prSet phldrT="[Text]" custT="1"/>
      <dgm:spPr>
        <a:ln>
          <a:solidFill>
            <a:srgbClr val="008080"/>
          </a:solidFill>
        </a:ln>
      </dgm:spPr>
      <dgm:t>
        <a:bodyPr/>
        <a:lstStyle/>
        <a:p>
          <a:r>
            <a:rPr lang="en-US" sz="1400" dirty="0"/>
            <a:t>High probability of multiple partnerships</a:t>
          </a:r>
        </a:p>
      </dgm:t>
    </dgm:pt>
    <dgm:pt modelId="{EF5B5035-BDBD-4E7D-AE04-84952E2E4362}" type="parTrans" cxnId="{B2BADC8B-A241-404D-A79F-3A21B8D39644}">
      <dgm:prSet/>
      <dgm:spPr/>
      <dgm:t>
        <a:bodyPr/>
        <a:lstStyle/>
        <a:p>
          <a:endParaRPr lang="en-US" sz="5400"/>
        </a:p>
      </dgm:t>
    </dgm:pt>
    <dgm:pt modelId="{FA520405-6EBE-44F9-BE97-8EE01FACD6C4}" type="sibTrans" cxnId="{B2BADC8B-A241-404D-A79F-3A21B8D39644}">
      <dgm:prSet/>
      <dgm:spPr/>
      <dgm:t>
        <a:bodyPr/>
        <a:lstStyle/>
        <a:p>
          <a:endParaRPr lang="en-US" sz="5400"/>
        </a:p>
      </dgm:t>
    </dgm:pt>
    <dgm:pt modelId="{CAC6E8C6-E2D9-4BE9-B43E-929F3F59073A}">
      <dgm:prSet phldrT="[Text]" custT="1"/>
      <dgm:spPr>
        <a:ln>
          <a:solidFill>
            <a:srgbClr val="008080"/>
          </a:solidFill>
        </a:ln>
      </dgm:spPr>
      <dgm:t>
        <a:bodyPr/>
        <a:lstStyle/>
        <a:p>
          <a:r>
            <a:rPr lang="en-US" sz="1400" dirty="0"/>
            <a:t>Very short, only one to two </a:t>
          </a:r>
          <a:r>
            <a:rPr lang="en-US" sz="1400" dirty="0" err="1"/>
            <a:t>liasons</a:t>
          </a:r>
          <a:r>
            <a:rPr lang="en-US" sz="1400" dirty="0"/>
            <a:t> per relationship</a:t>
          </a:r>
        </a:p>
      </dgm:t>
    </dgm:pt>
    <dgm:pt modelId="{CFA026DC-49A9-4928-83E0-5A7D68B14284}" type="parTrans" cxnId="{17FFBEFE-2048-40D5-961B-E7A577606F0E}">
      <dgm:prSet/>
      <dgm:spPr/>
      <dgm:t>
        <a:bodyPr/>
        <a:lstStyle/>
        <a:p>
          <a:endParaRPr lang="en-US" sz="5400"/>
        </a:p>
      </dgm:t>
    </dgm:pt>
    <dgm:pt modelId="{4E6AC6A1-F726-425D-A787-0E415EC23767}" type="sibTrans" cxnId="{17FFBEFE-2048-40D5-961B-E7A577606F0E}">
      <dgm:prSet/>
      <dgm:spPr/>
      <dgm:t>
        <a:bodyPr/>
        <a:lstStyle/>
        <a:p>
          <a:endParaRPr lang="en-US" sz="5400"/>
        </a:p>
      </dgm:t>
    </dgm:pt>
    <dgm:pt modelId="{30AA0164-DC93-4100-8CE0-8314F9F69C68}">
      <dgm:prSet phldrT="[Text]" custT="1"/>
      <dgm:spPr>
        <a:ln>
          <a:solidFill>
            <a:srgbClr val="008080"/>
          </a:solidFill>
        </a:ln>
      </dgm:spPr>
      <dgm:t>
        <a:bodyPr/>
        <a:lstStyle/>
        <a:p>
          <a:r>
            <a:rPr lang="en-US" sz="1400" dirty="0"/>
            <a:t>Young women, broad age range of men</a:t>
          </a:r>
        </a:p>
      </dgm:t>
    </dgm:pt>
    <dgm:pt modelId="{6D092A40-DA93-401C-B811-9B4EE5A94047}" type="parTrans" cxnId="{F72316F0-238C-467C-B345-530A5FA2B929}">
      <dgm:prSet/>
      <dgm:spPr/>
      <dgm:t>
        <a:bodyPr/>
        <a:lstStyle/>
        <a:p>
          <a:endParaRPr lang="en-US" sz="5400"/>
        </a:p>
      </dgm:t>
    </dgm:pt>
    <dgm:pt modelId="{5134DED0-05AD-4A54-9155-FBF781D24912}" type="sibTrans" cxnId="{F72316F0-238C-467C-B345-530A5FA2B929}">
      <dgm:prSet/>
      <dgm:spPr/>
      <dgm:t>
        <a:bodyPr/>
        <a:lstStyle/>
        <a:p>
          <a:endParaRPr lang="en-US" sz="5400"/>
        </a:p>
      </dgm:t>
    </dgm:pt>
    <dgm:pt modelId="{632FABD0-EEDB-436A-B7A8-75ECD6F6D21D}">
      <dgm:prSet phldrT="[Text]" custT="1"/>
      <dgm:spPr>
        <a:ln>
          <a:solidFill>
            <a:srgbClr val="008080"/>
          </a:solidFill>
        </a:ln>
      </dgm:spPr>
      <dgm:t>
        <a:bodyPr/>
        <a:lstStyle/>
        <a:p>
          <a:r>
            <a:rPr lang="en-US" sz="1400" dirty="0"/>
            <a:t>Variable age gap</a:t>
          </a:r>
        </a:p>
      </dgm:t>
    </dgm:pt>
    <dgm:pt modelId="{74638B98-9E1E-487F-B306-4C118E23BD7E}" type="parTrans" cxnId="{8B20EBB3-4664-4737-A074-2C063FE77DD4}">
      <dgm:prSet/>
      <dgm:spPr/>
      <dgm:t>
        <a:bodyPr/>
        <a:lstStyle/>
        <a:p>
          <a:endParaRPr lang="en-US" sz="5400"/>
        </a:p>
      </dgm:t>
    </dgm:pt>
    <dgm:pt modelId="{54656054-D8F0-4D83-A127-7BD8137DC9A3}" type="sibTrans" cxnId="{8B20EBB3-4664-4737-A074-2C063FE77DD4}">
      <dgm:prSet/>
      <dgm:spPr/>
      <dgm:t>
        <a:bodyPr/>
        <a:lstStyle/>
        <a:p>
          <a:endParaRPr lang="en-US" sz="5400"/>
        </a:p>
      </dgm:t>
    </dgm:pt>
    <dgm:pt modelId="{0CCFCAE5-BF09-4F0A-86D7-B2B77262B6C8}">
      <dgm:prSet phldrT="[Text]" custT="1"/>
      <dgm:spPr>
        <a:ln>
          <a:solidFill>
            <a:srgbClr val="008080"/>
          </a:solidFill>
        </a:ln>
      </dgm:spPr>
      <dgm:t>
        <a:bodyPr/>
        <a:lstStyle/>
        <a:p>
          <a:r>
            <a:rPr lang="en-US" sz="1400" dirty="0"/>
            <a:t>Many different partners</a:t>
          </a:r>
        </a:p>
      </dgm:t>
    </dgm:pt>
    <dgm:pt modelId="{E9E9704A-4066-482B-9411-91BA7644E5D0}" type="parTrans" cxnId="{F3F5B3B2-5896-4758-A63C-93A9C9B7025D}">
      <dgm:prSet/>
      <dgm:spPr/>
      <dgm:t>
        <a:bodyPr/>
        <a:lstStyle/>
        <a:p>
          <a:endParaRPr lang="en-US" sz="5400"/>
        </a:p>
      </dgm:t>
    </dgm:pt>
    <dgm:pt modelId="{D9DB148F-1312-4D42-8945-D4BCC6D1782C}" type="sibTrans" cxnId="{F3F5B3B2-5896-4758-A63C-93A9C9B7025D}">
      <dgm:prSet/>
      <dgm:spPr/>
      <dgm:t>
        <a:bodyPr/>
        <a:lstStyle/>
        <a:p>
          <a:endParaRPr lang="en-US" sz="5400"/>
        </a:p>
      </dgm:t>
    </dgm:pt>
    <dgm:pt modelId="{F8C25AB7-3BF5-47F2-8AF0-6522E6ECBE45}">
      <dgm:prSet phldrT="[Text]" custT="1"/>
      <dgm:spPr>
        <a:ln>
          <a:solidFill>
            <a:srgbClr val="008080"/>
          </a:solidFill>
        </a:ln>
      </dgm:spPr>
      <dgm:t>
        <a:bodyPr/>
        <a:lstStyle/>
        <a:p>
          <a:r>
            <a:rPr lang="en-US" sz="1400" dirty="0"/>
            <a:t>Medium age gap, women younger than men</a:t>
          </a:r>
        </a:p>
      </dgm:t>
    </dgm:pt>
    <dgm:pt modelId="{507662FD-6C76-4ABE-94D2-09F44F570A71}" type="parTrans" cxnId="{A521830D-B1F5-4A74-9833-95B15E91EA51}">
      <dgm:prSet/>
      <dgm:spPr/>
      <dgm:t>
        <a:bodyPr/>
        <a:lstStyle/>
        <a:p>
          <a:endParaRPr lang="en-US"/>
        </a:p>
      </dgm:t>
    </dgm:pt>
    <dgm:pt modelId="{6CC8652E-B700-403C-BA0B-1D058D012765}" type="sibTrans" cxnId="{A521830D-B1F5-4A74-9833-95B15E91EA51}">
      <dgm:prSet/>
      <dgm:spPr/>
      <dgm:t>
        <a:bodyPr/>
        <a:lstStyle/>
        <a:p>
          <a:endParaRPr lang="en-US"/>
        </a:p>
      </dgm:t>
    </dgm:pt>
    <dgm:pt modelId="{4A9AEA0B-34ED-4F7A-BC2B-B3E3458C9F0B}" type="pres">
      <dgm:prSet presAssocID="{F66A3E51-FE6E-4FA7-9356-66B85B5E96EA}" presName="Name0" presStyleCnt="0">
        <dgm:presLayoutVars>
          <dgm:dir/>
          <dgm:resizeHandles val="exact"/>
        </dgm:presLayoutVars>
      </dgm:prSet>
      <dgm:spPr/>
    </dgm:pt>
    <dgm:pt modelId="{C3F85D9F-47F3-4B95-8686-E604BA591B97}" type="pres">
      <dgm:prSet presAssocID="{B5B486D5-32D8-4A06-B7A4-A163C7546D94}" presName="composite" presStyleCnt="0"/>
      <dgm:spPr/>
    </dgm:pt>
    <dgm:pt modelId="{1CBD6E5D-4AD2-4034-A851-87BF1046D354}" type="pres">
      <dgm:prSet presAssocID="{B5B486D5-32D8-4A06-B7A4-A163C7546D94}" presName="bgChev" presStyleLbl="node1" presStyleIdx="0" presStyleCnt="4"/>
      <dgm:spPr>
        <a:solidFill>
          <a:srgbClr val="008080"/>
        </a:solidFill>
      </dgm:spPr>
    </dgm:pt>
    <dgm:pt modelId="{AED54DB9-F020-47F3-8063-DAB6F3BCD528}" type="pres">
      <dgm:prSet presAssocID="{B5B486D5-32D8-4A06-B7A4-A163C7546D94}" presName="txNode" presStyleLbl="fgAcc1" presStyleIdx="0" presStyleCnt="4" custScaleY="424294">
        <dgm:presLayoutVars>
          <dgm:bulletEnabled val="1"/>
        </dgm:presLayoutVars>
      </dgm:prSet>
      <dgm:spPr/>
    </dgm:pt>
    <dgm:pt modelId="{87BB6EDF-746C-4160-AD8A-BD8807D7BF59}" type="pres">
      <dgm:prSet presAssocID="{D2631407-BBDB-4A5C-B07E-685CF90002E4}" presName="compositeSpace" presStyleCnt="0"/>
      <dgm:spPr/>
    </dgm:pt>
    <dgm:pt modelId="{8C907521-6E47-4958-94FC-09902BDCDDF9}" type="pres">
      <dgm:prSet presAssocID="{F7F60FF1-6EF5-42B3-8F3B-B589ED2C947F}" presName="composite" presStyleCnt="0"/>
      <dgm:spPr/>
    </dgm:pt>
    <dgm:pt modelId="{802EB083-34C9-48F3-AAC2-B8B0254C0D7B}" type="pres">
      <dgm:prSet presAssocID="{F7F60FF1-6EF5-42B3-8F3B-B589ED2C947F}" presName="bgChev" presStyleLbl="node1" presStyleIdx="1" presStyleCnt="4"/>
      <dgm:spPr>
        <a:solidFill>
          <a:srgbClr val="008080"/>
        </a:solidFill>
      </dgm:spPr>
    </dgm:pt>
    <dgm:pt modelId="{7CA0160A-316E-44FF-A595-61A516AD0184}" type="pres">
      <dgm:prSet presAssocID="{F7F60FF1-6EF5-42B3-8F3B-B589ED2C947F}" presName="txNode" presStyleLbl="fgAcc1" presStyleIdx="1" presStyleCnt="4" custScaleY="424294">
        <dgm:presLayoutVars>
          <dgm:bulletEnabled val="1"/>
        </dgm:presLayoutVars>
      </dgm:prSet>
      <dgm:spPr/>
    </dgm:pt>
    <dgm:pt modelId="{974D4E91-E223-461B-94ED-C76DFCA54573}" type="pres">
      <dgm:prSet presAssocID="{6D8F98F0-F2EB-4140-8479-F39E589ED170}" presName="compositeSpace" presStyleCnt="0"/>
      <dgm:spPr/>
    </dgm:pt>
    <dgm:pt modelId="{5D75A4AB-134B-410D-97DB-37AB294DED3E}" type="pres">
      <dgm:prSet presAssocID="{1FCFA162-AE4B-48EC-BAE8-BB7B026E3318}" presName="composite" presStyleCnt="0"/>
      <dgm:spPr/>
    </dgm:pt>
    <dgm:pt modelId="{1CB424A6-55E2-4884-8FF3-8719E8C4D46E}" type="pres">
      <dgm:prSet presAssocID="{1FCFA162-AE4B-48EC-BAE8-BB7B026E3318}" presName="bgChev" presStyleLbl="node1" presStyleIdx="2" presStyleCnt="4"/>
      <dgm:spPr>
        <a:solidFill>
          <a:srgbClr val="008080"/>
        </a:solidFill>
      </dgm:spPr>
    </dgm:pt>
    <dgm:pt modelId="{CFC07264-7196-4A7D-B61E-C49397CD88AE}" type="pres">
      <dgm:prSet presAssocID="{1FCFA162-AE4B-48EC-BAE8-BB7B026E3318}" presName="txNode" presStyleLbl="fgAcc1" presStyleIdx="2" presStyleCnt="4" custScaleY="424294">
        <dgm:presLayoutVars>
          <dgm:bulletEnabled val="1"/>
        </dgm:presLayoutVars>
      </dgm:prSet>
      <dgm:spPr/>
    </dgm:pt>
    <dgm:pt modelId="{9E683E40-14C1-447C-8B1B-E2E9E32ECE38}" type="pres">
      <dgm:prSet presAssocID="{E645FBE6-9C35-4761-B753-1EBD6EDE7202}" presName="compositeSpace" presStyleCnt="0"/>
      <dgm:spPr/>
    </dgm:pt>
    <dgm:pt modelId="{AFF13AFE-7812-4D36-B9EA-D75C5ECE6080}" type="pres">
      <dgm:prSet presAssocID="{E0558590-FF6C-4CD4-ADBA-372AC0C768EE}" presName="composite" presStyleCnt="0"/>
      <dgm:spPr/>
    </dgm:pt>
    <dgm:pt modelId="{4F9344EA-97B9-4B3B-A1A1-13D8BADFAEB1}" type="pres">
      <dgm:prSet presAssocID="{E0558590-FF6C-4CD4-ADBA-372AC0C768EE}" presName="bgChev" presStyleLbl="node1" presStyleIdx="3" presStyleCnt="4"/>
      <dgm:spPr>
        <a:solidFill>
          <a:srgbClr val="008080"/>
        </a:solidFill>
      </dgm:spPr>
    </dgm:pt>
    <dgm:pt modelId="{2E07CC61-7946-4395-AF3B-44ADB8B5F5B7}" type="pres">
      <dgm:prSet presAssocID="{E0558590-FF6C-4CD4-ADBA-372AC0C768EE}" presName="txNode" presStyleLbl="fgAcc1" presStyleIdx="3" presStyleCnt="4" custScaleY="424294">
        <dgm:presLayoutVars>
          <dgm:bulletEnabled val="1"/>
        </dgm:presLayoutVars>
      </dgm:prSet>
      <dgm:spPr/>
    </dgm:pt>
  </dgm:ptLst>
  <dgm:cxnLst>
    <dgm:cxn modelId="{B600C209-2ECF-42FE-859C-58091ECC57B4}" type="presOf" srcId="{6867D1AB-589A-4AEA-AB07-DA6E2CACA24F}" destId="{7CA0160A-316E-44FF-A595-61A516AD0184}" srcOrd="0" destOrd="4" presId="urn:microsoft.com/office/officeart/2005/8/layout/chevronAccent+Icon"/>
    <dgm:cxn modelId="{D2C2C70C-25EF-49BE-A421-C50D671831C9}" srcId="{F66A3E51-FE6E-4FA7-9356-66B85B5E96EA}" destId="{E0558590-FF6C-4CD4-ADBA-372AC0C768EE}" srcOrd="3" destOrd="0" parTransId="{EEDDA17D-4C8E-451A-9B18-1B826F79E7BF}" sibTransId="{C1449FC8-7917-4D44-AEAF-D2E6D601DDE6}"/>
    <dgm:cxn modelId="{A521830D-B1F5-4A74-9833-95B15E91EA51}" srcId="{F7F60FF1-6EF5-42B3-8F3B-B589ED2C947F}" destId="{F8C25AB7-3BF5-47F2-8AF0-6522E6ECBE45}" srcOrd="2" destOrd="0" parTransId="{507662FD-6C76-4ABE-94D2-09F44F570A71}" sibTransId="{6CC8652E-B700-403C-BA0B-1D058D012765}"/>
    <dgm:cxn modelId="{ECF6851D-5310-4A3A-A141-C02C47E51FF1}" type="presOf" srcId="{B5B486D5-32D8-4A06-B7A4-A163C7546D94}" destId="{AED54DB9-F020-47F3-8063-DAB6F3BCD528}" srcOrd="0" destOrd="0" presId="urn:microsoft.com/office/officeart/2005/8/layout/chevronAccent+Icon"/>
    <dgm:cxn modelId="{C5B1CD20-8852-4671-B1AD-7742168B7716}" type="presOf" srcId="{3B6629CF-BB10-4432-9479-17FF1F03EEF7}" destId="{CFC07264-7196-4A7D-B61E-C49397CD88AE}" srcOrd="0" destOrd="2" presId="urn:microsoft.com/office/officeart/2005/8/layout/chevronAccent+Icon"/>
    <dgm:cxn modelId="{BADF9932-85CD-40AC-99F1-B7F2290782CB}" type="presOf" srcId="{0CCFCAE5-BF09-4F0A-86D7-B2B77262B6C8}" destId="{2E07CC61-7946-4395-AF3B-44ADB8B5F5B7}" srcOrd="0" destOrd="4" presId="urn:microsoft.com/office/officeart/2005/8/layout/chevronAccent+Icon"/>
    <dgm:cxn modelId="{D5065038-E87F-41C9-8F08-A9EB9BE4C1BF}" type="presOf" srcId="{CAC6E8C6-E2D9-4BE9-B43E-929F3F59073A}" destId="{2E07CC61-7946-4395-AF3B-44ADB8B5F5B7}" srcOrd="0" destOrd="1" presId="urn:microsoft.com/office/officeart/2005/8/layout/chevronAccent+Icon"/>
    <dgm:cxn modelId="{2596B03C-D4B7-41A9-AD2E-F36DC899EBA7}" srcId="{B5B486D5-32D8-4A06-B7A4-A163C7546D94}" destId="{15261002-274F-45BB-BF08-7A3108673804}" srcOrd="0" destOrd="0" parTransId="{9D61BEC6-AA4F-4F0E-94CD-373BD28C068C}" sibTransId="{2C1DCB2E-A357-4FF1-8324-4612885C5681}"/>
    <dgm:cxn modelId="{0F6AB54A-A19E-49D2-910E-0A10888D58A2}" type="presOf" srcId="{6EF1A497-48B1-4DAC-A361-7DF22A1C7183}" destId="{AED54DB9-F020-47F3-8063-DAB6F3BCD528}" srcOrd="0" destOrd="4" presId="urn:microsoft.com/office/officeart/2005/8/layout/chevronAccent+Icon"/>
    <dgm:cxn modelId="{A94E2F4E-5817-44D5-8D7A-BFD2344A8CF3}" srcId="{F66A3E51-FE6E-4FA7-9356-66B85B5E96EA}" destId="{B5B486D5-32D8-4A06-B7A4-A163C7546D94}" srcOrd="0" destOrd="0" parTransId="{2867D9D3-6BE1-43AB-8D01-C593AEF7B741}" sibTransId="{D2631407-BBDB-4A5C-B07E-685CF90002E4}"/>
    <dgm:cxn modelId="{369E1953-614F-4962-A15E-51DEBA7194D7}" srcId="{F7F60FF1-6EF5-42B3-8F3B-B589ED2C947F}" destId="{745E92EA-0C72-4E24-9942-3639C37E6A56}" srcOrd="1" destOrd="0" parTransId="{86D0F0AC-1C5A-4FC0-977A-B8E403291C32}" sibTransId="{4EBC0769-6C63-4446-AC12-CF622050EBC6}"/>
    <dgm:cxn modelId="{B19E6B68-7CE7-425D-90DA-43E850BAA508}" srcId="{B5B486D5-32D8-4A06-B7A4-A163C7546D94}" destId="{6EF1A497-48B1-4DAC-A361-7DF22A1C7183}" srcOrd="3" destOrd="0" parTransId="{52FA8208-33A2-4193-A318-F4B2094E5A94}" sibTransId="{00D050C4-DD55-4149-8E46-2F5AA6096557}"/>
    <dgm:cxn modelId="{C3B99D68-582A-4E56-AD8C-67C1273323A3}" type="presOf" srcId="{122599F2-4BDC-4F65-9DA2-DE9CC0AA1A29}" destId="{CFC07264-7196-4A7D-B61E-C49397CD88AE}" srcOrd="0" destOrd="3" presId="urn:microsoft.com/office/officeart/2005/8/layout/chevronAccent+Icon"/>
    <dgm:cxn modelId="{B3F7E26D-6DA1-47E8-A059-6B6A388F2C02}" srcId="{B5B486D5-32D8-4A06-B7A4-A163C7546D94}" destId="{25A2496D-0F4C-42CB-95FC-865869F262F7}" srcOrd="2" destOrd="0" parTransId="{BA1A96EB-E6DA-4C40-90B0-49322DC1A5FF}" sibTransId="{3F103F7A-B4B5-4FE1-856B-223862A8565C}"/>
    <dgm:cxn modelId="{345AF071-8BA1-43CF-A9D4-F77A1132A075}" type="presOf" srcId="{1FCFA162-AE4B-48EC-BAE8-BB7B026E3318}" destId="{CFC07264-7196-4A7D-B61E-C49397CD88AE}" srcOrd="0" destOrd="0" presId="urn:microsoft.com/office/officeart/2005/8/layout/chevronAccent+Icon"/>
    <dgm:cxn modelId="{E05F0773-F3D9-4816-8A1C-7EE415106AEB}" srcId="{1FCFA162-AE4B-48EC-BAE8-BB7B026E3318}" destId="{3B6629CF-BB10-4432-9479-17FF1F03EEF7}" srcOrd="1" destOrd="0" parTransId="{47C94F20-FFD8-47C7-8950-D8AD87548620}" sibTransId="{8EEB8CBF-2B75-4E5F-AC41-38FA4132AD46}"/>
    <dgm:cxn modelId="{FBE79076-63A3-4A91-8021-FE8F1E9D1BC0}" srcId="{1FCFA162-AE4B-48EC-BAE8-BB7B026E3318}" destId="{5D6F5ED1-CF17-440E-8DB6-ADCD5E7BB223}" srcOrd="0" destOrd="0" parTransId="{DDBBAB9E-10B6-40F9-A5DB-44D21F7E46AE}" sibTransId="{3398B1F5-D183-4FDF-A8B6-B67E5BAE4ACB}"/>
    <dgm:cxn modelId="{B29DF477-9F78-410B-9CD7-FC680F026415}" srcId="{B5B486D5-32D8-4A06-B7A4-A163C7546D94}" destId="{95522EA3-0AAD-4691-90CC-0E745DA4C2B5}" srcOrd="1" destOrd="0" parTransId="{E609BD38-F545-427C-BF74-3DC029F98CC6}" sibTransId="{F016118A-D138-4721-870D-CF39437F6320}"/>
    <dgm:cxn modelId="{48956580-5BB9-456F-BE47-C8740B7D4D10}" type="presOf" srcId="{25A2496D-0F4C-42CB-95FC-865869F262F7}" destId="{AED54DB9-F020-47F3-8063-DAB6F3BCD528}" srcOrd="0" destOrd="3" presId="urn:microsoft.com/office/officeart/2005/8/layout/chevronAccent+Icon"/>
    <dgm:cxn modelId="{B2BADC8B-A241-404D-A79F-3A21B8D39644}" srcId="{1FCFA162-AE4B-48EC-BAE8-BB7B026E3318}" destId="{25BE08DC-B313-4A9A-8D7A-F77C3DF26F8B}" srcOrd="3" destOrd="0" parTransId="{EF5B5035-BDBD-4E7D-AE04-84952E2E4362}" sibTransId="{FA520405-6EBE-44F9-BE97-8EE01FACD6C4}"/>
    <dgm:cxn modelId="{5F991A90-AA29-4240-9C4D-D8982D97840B}" type="presOf" srcId="{15261002-274F-45BB-BF08-7A3108673804}" destId="{AED54DB9-F020-47F3-8063-DAB6F3BCD528}" srcOrd="0" destOrd="1" presId="urn:microsoft.com/office/officeart/2005/8/layout/chevronAccent+Icon"/>
    <dgm:cxn modelId="{86BA6293-5F41-4CB0-A978-27F5C19E4840}" type="presOf" srcId="{30AA0164-DC93-4100-8CE0-8314F9F69C68}" destId="{2E07CC61-7946-4395-AF3B-44ADB8B5F5B7}" srcOrd="0" destOrd="2" presId="urn:microsoft.com/office/officeart/2005/8/layout/chevronAccent+Icon"/>
    <dgm:cxn modelId="{883E8E94-0AA9-41E4-919E-F33F60E901C9}" type="presOf" srcId="{FB9A311F-9E90-4037-AB06-561C5E715757}" destId="{7CA0160A-316E-44FF-A595-61A516AD0184}" srcOrd="0" destOrd="1" presId="urn:microsoft.com/office/officeart/2005/8/layout/chevronAccent+Icon"/>
    <dgm:cxn modelId="{98EC3898-7DB5-492D-BE79-2E5966A99B4E}" type="presOf" srcId="{F7F60FF1-6EF5-42B3-8F3B-B589ED2C947F}" destId="{7CA0160A-316E-44FF-A595-61A516AD0184}" srcOrd="0" destOrd="0" presId="urn:microsoft.com/office/officeart/2005/8/layout/chevronAccent+Icon"/>
    <dgm:cxn modelId="{A12CFDA2-8C36-4B78-8DB0-ACEF7F12665D}" type="presOf" srcId="{25BE08DC-B313-4A9A-8D7A-F77C3DF26F8B}" destId="{CFC07264-7196-4A7D-B61E-C49397CD88AE}" srcOrd="0" destOrd="4" presId="urn:microsoft.com/office/officeart/2005/8/layout/chevronAccent+Icon"/>
    <dgm:cxn modelId="{558440AE-43D5-4E97-B1D3-E2107CA44BAB}" srcId="{1FCFA162-AE4B-48EC-BAE8-BB7B026E3318}" destId="{122599F2-4BDC-4F65-9DA2-DE9CC0AA1A29}" srcOrd="2" destOrd="0" parTransId="{EEAD282C-BE15-490A-A4B6-C35803EF661F}" sibTransId="{D41C1914-4552-4895-BA71-6341C3971F98}"/>
    <dgm:cxn modelId="{98B773AF-05B2-474A-9A45-18327A7DDBF7}" srcId="{F66A3E51-FE6E-4FA7-9356-66B85B5E96EA}" destId="{F7F60FF1-6EF5-42B3-8F3B-B589ED2C947F}" srcOrd="1" destOrd="0" parTransId="{5F09BD09-B02B-43A6-A21E-9E8C2B481AF8}" sibTransId="{6D8F98F0-F2EB-4140-8479-F39E589ED170}"/>
    <dgm:cxn modelId="{E39FD3B1-3AC4-49D9-AC29-3C3C3BFEFA9A}" srcId="{F7F60FF1-6EF5-42B3-8F3B-B589ED2C947F}" destId="{FB9A311F-9E90-4037-AB06-561C5E715757}" srcOrd="0" destOrd="0" parTransId="{2939ADC9-3944-485C-81FE-DF96CCC982C5}" sibTransId="{23D59B75-6946-43CE-A0D5-D4248A180012}"/>
    <dgm:cxn modelId="{F3F5B3B2-5896-4758-A63C-93A9C9B7025D}" srcId="{E0558590-FF6C-4CD4-ADBA-372AC0C768EE}" destId="{0CCFCAE5-BF09-4F0A-86D7-B2B77262B6C8}" srcOrd="3" destOrd="0" parTransId="{E9E9704A-4066-482B-9411-91BA7644E5D0}" sibTransId="{D9DB148F-1312-4D42-8945-D4BCC6D1782C}"/>
    <dgm:cxn modelId="{8B20EBB3-4664-4737-A074-2C063FE77DD4}" srcId="{E0558590-FF6C-4CD4-ADBA-372AC0C768EE}" destId="{632FABD0-EEDB-436A-B7A8-75ECD6F6D21D}" srcOrd="2" destOrd="0" parTransId="{74638B98-9E1E-487F-B306-4C118E23BD7E}" sibTransId="{54656054-D8F0-4D83-A127-7BD8137DC9A3}"/>
    <dgm:cxn modelId="{3960B4C9-B99F-457F-86EA-F6A04E12C7C3}" type="presOf" srcId="{F8C25AB7-3BF5-47F2-8AF0-6522E6ECBE45}" destId="{7CA0160A-316E-44FF-A595-61A516AD0184}" srcOrd="0" destOrd="3" presId="urn:microsoft.com/office/officeart/2005/8/layout/chevronAccent+Icon"/>
    <dgm:cxn modelId="{951DEDC9-C723-414A-B45B-39D4683C537C}" type="presOf" srcId="{5D6F5ED1-CF17-440E-8DB6-ADCD5E7BB223}" destId="{CFC07264-7196-4A7D-B61E-C49397CD88AE}" srcOrd="0" destOrd="1" presId="urn:microsoft.com/office/officeart/2005/8/layout/chevronAccent+Icon"/>
    <dgm:cxn modelId="{A23D43D3-BE58-47B8-8E22-291DBF70EBE4}" srcId="{F7F60FF1-6EF5-42B3-8F3B-B589ED2C947F}" destId="{6867D1AB-589A-4AEA-AB07-DA6E2CACA24F}" srcOrd="3" destOrd="0" parTransId="{C89D7F78-2DB7-4A30-A60C-72B52C25BB3D}" sibTransId="{1281E6C3-C0EA-4D3A-95EF-3C4165B01257}"/>
    <dgm:cxn modelId="{1134AED3-8782-44A9-95E7-C7C17A46206B}" srcId="{F66A3E51-FE6E-4FA7-9356-66B85B5E96EA}" destId="{1FCFA162-AE4B-48EC-BAE8-BB7B026E3318}" srcOrd="2" destOrd="0" parTransId="{A9ED3542-E466-4FAF-A1C0-8C632541CF24}" sibTransId="{E645FBE6-9C35-4761-B753-1EBD6EDE7202}"/>
    <dgm:cxn modelId="{C42D9ED8-DC90-4411-9070-93C0E2F17969}" type="presOf" srcId="{95522EA3-0AAD-4691-90CC-0E745DA4C2B5}" destId="{AED54DB9-F020-47F3-8063-DAB6F3BCD528}" srcOrd="0" destOrd="2" presId="urn:microsoft.com/office/officeart/2005/8/layout/chevronAccent+Icon"/>
    <dgm:cxn modelId="{F72316F0-238C-467C-B345-530A5FA2B929}" srcId="{E0558590-FF6C-4CD4-ADBA-372AC0C768EE}" destId="{30AA0164-DC93-4100-8CE0-8314F9F69C68}" srcOrd="1" destOrd="0" parTransId="{6D092A40-DA93-401C-B811-9B4EE5A94047}" sibTransId="{5134DED0-05AD-4A54-9155-FBF781D24912}"/>
    <dgm:cxn modelId="{F930F8F1-31E3-417F-9A5E-3257A6A352F4}" type="presOf" srcId="{E0558590-FF6C-4CD4-ADBA-372AC0C768EE}" destId="{2E07CC61-7946-4395-AF3B-44ADB8B5F5B7}" srcOrd="0" destOrd="0" presId="urn:microsoft.com/office/officeart/2005/8/layout/chevronAccent+Icon"/>
    <dgm:cxn modelId="{AED941F6-886A-402A-A587-1EAE3A72E78E}" type="presOf" srcId="{745E92EA-0C72-4E24-9942-3639C37E6A56}" destId="{7CA0160A-316E-44FF-A595-61A516AD0184}" srcOrd="0" destOrd="2" presId="urn:microsoft.com/office/officeart/2005/8/layout/chevronAccent+Icon"/>
    <dgm:cxn modelId="{BEE830F9-7541-4AA2-B9AC-E5D674BEF409}" type="presOf" srcId="{F66A3E51-FE6E-4FA7-9356-66B85B5E96EA}" destId="{4A9AEA0B-34ED-4F7A-BC2B-B3E3458C9F0B}" srcOrd="0" destOrd="0" presId="urn:microsoft.com/office/officeart/2005/8/layout/chevronAccent+Icon"/>
    <dgm:cxn modelId="{7F2D0FFC-2FFF-470F-A790-455FBA719A37}" type="presOf" srcId="{632FABD0-EEDB-436A-B7A8-75ECD6F6D21D}" destId="{2E07CC61-7946-4395-AF3B-44ADB8B5F5B7}" srcOrd="0" destOrd="3" presId="urn:microsoft.com/office/officeart/2005/8/layout/chevronAccent+Icon"/>
    <dgm:cxn modelId="{17FFBEFE-2048-40D5-961B-E7A577606F0E}" srcId="{E0558590-FF6C-4CD4-ADBA-372AC0C768EE}" destId="{CAC6E8C6-E2D9-4BE9-B43E-929F3F59073A}" srcOrd="0" destOrd="0" parTransId="{CFA026DC-49A9-4928-83E0-5A7D68B14284}" sibTransId="{4E6AC6A1-F726-425D-A787-0E415EC23767}"/>
    <dgm:cxn modelId="{7D6405CA-F7AA-48C0-8DD3-E06F18841F57}" type="presParOf" srcId="{4A9AEA0B-34ED-4F7A-BC2B-B3E3458C9F0B}" destId="{C3F85D9F-47F3-4B95-8686-E604BA591B97}" srcOrd="0" destOrd="0" presId="urn:microsoft.com/office/officeart/2005/8/layout/chevronAccent+Icon"/>
    <dgm:cxn modelId="{FD1E8453-9743-4AF0-91F9-E4192C71A72F}" type="presParOf" srcId="{C3F85D9F-47F3-4B95-8686-E604BA591B97}" destId="{1CBD6E5D-4AD2-4034-A851-87BF1046D354}" srcOrd="0" destOrd="0" presId="urn:microsoft.com/office/officeart/2005/8/layout/chevronAccent+Icon"/>
    <dgm:cxn modelId="{95E3CACD-F803-4119-A464-244E432CB758}" type="presParOf" srcId="{C3F85D9F-47F3-4B95-8686-E604BA591B97}" destId="{AED54DB9-F020-47F3-8063-DAB6F3BCD528}" srcOrd="1" destOrd="0" presId="urn:microsoft.com/office/officeart/2005/8/layout/chevronAccent+Icon"/>
    <dgm:cxn modelId="{176424A7-C211-4C66-AD33-AFFD036B3D9F}" type="presParOf" srcId="{4A9AEA0B-34ED-4F7A-BC2B-B3E3458C9F0B}" destId="{87BB6EDF-746C-4160-AD8A-BD8807D7BF59}" srcOrd="1" destOrd="0" presId="urn:microsoft.com/office/officeart/2005/8/layout/chevronAccent+Icon"/>
    <dgm:cxn modelId="{21422C59-75AF-4F5E-B20B-9C3E6288E225}" type="presParOf" srcId="{4A9AEA0B-34ED-4F7A-BC2B-B3E3458C9F0B}" destId="{8C907521-6E47-4958-94FC-09902BDCDDF9}" srcOrd="2" destOrd="0" presId="urn:microsoft.com/office/officeart/2005/8/layout/chevronAccent+Icon"/>
    <dgm:cxn modelId="{06FC3603-C0F7-4BBB-84B1-B44F45ABC492}" type="presParOf" srcId="{8C907521-6E47-4958-94FC-09902BDCDDF9}" destId="{802EB083-34C9-48F3-AAC2-B8B0254C0D7B}" srcOrd="0" destOrd="0" presId="urn:microsoft.com/office/officeart/2005/8/layout/chevronAccent+Icon"/>
    <dgm:cxn modelId="{85829C57-8260-4912-BC50-F4BFB541207A}" type="presParOf" srcId="{8C907521-6E47-4958-94FC-09902BDCDDF9}" destId="{7CA0160A-316E-44FF-A595-61A516AD0184}" srcOrd="1" destOrd="0" presId="urn:microsoft.com/office/officeart/2005/8/layout/chevronAccent+Icon"/>
    <dgm:cxn modelId="{AFE91210-8B1D-47ED-BA8E-CF0D146D7F5D}" type="presParOf" srcId="{4A9AEA0B-34ED-4F7A-BC2B-B3E3458C9F0B}" destId="{974D4E91-E223-461B-94ED-C76DFCA54573}" srcOrd="3" destOrd="0" presId="urn:microsoft.com/office/officeart/2005/8/layout/chevronAccent+Icon"/>
    <dgm:cxn modelId="{F5ECA257-09E9-47F1-A559-E21E6BE998C3}" type="presParOf" srcId="{4A9AEA0B-34ED-4F7A-BC2B-B3E3458C9F0B}" destId="{5D75A4AB-134B-410D-97DB-37AB294DED3E}" srcOrd="4" destOrd="0" presId="urn:microsoft.com/office/officeart/2005/8/layout/chevronAccent+Icon"/>
    <dgm:cxn modelId="{5FFB8E1E-72C2-4660-B036-5C692F019E19}" type="presParOf" srcId="{5D75A4AB-134B-410D-97DB-37AB294DED3E}" destId="{1CB424A6-55E2-4884-8FF3-8719E8C4D46E}" srcOrd="0" destOrd="0" presId="urn:microsoft.com/office/officeart/2005/8/layout/chevronAccent+Icon"/>
    <dgm:cxn modelId="{D2E8829C-B8C4-445F-9E0B-B5FD7118332A}" type="presParOf" srcId="{5D75A4AB-134B-410D-97DB-37AB294DED3E}" destId="{CFC07264-7196-4A7D-B61E-C49397CD88AE}" srcOrd="1" destOrd="0" presId="urn:microsoft.com/office/officeart/2005/8/layout/chevronAccent+Icon"/>
    <dgm:cxn modelId="{CACB9D62-437E-4E3D-8A02-A5538C649151}" type="presParOf" srcId="{4A9AEA0B-34ED-4F7A-BC2B-B3E3458C9F0B}" destId="{9E683E40-14C1-447C-8B1B-E2E9E32ECE38}" srcOrd="5" destOrd="0" presId="urn:microsoft.com/office/officeart/2005/8/layout/chevronAccent+Icon"/>
    <dgm:cxn modelId="{0F2B4E53-97FA-41F7-8358-9F8CAB079318}" type="presParOf" srcId="{4A9AEA0B-34ED-4F7A-BC2B-B3E3458C9F0B}" destId="{AFF13AFE-7812-4D36-B9EA-D75C5ECE6080}" srcOrd="6" destOrd="0" presId="urn:microsoft.com/office/officeart/2005/8/layout/chevronAccent+Icon"/>
    <dgm:cxn modelId="{25F1908A-5D49-4B87-8818-AA2DAE95EB6D}" type="presParOf" srcId="{AFF13AFE-7812-4D36-B9EA-D75C5ECE6080}" destId="{4F9344EA-97B9-4B3B-A1A1-13D8BADFAEB1}" srcOrd="0" destOrd="0" presId="urn:microsoft.com/office/officeart/2005/8/layout/chevronAccent+Icon"/>
    <dgm:cxn modelId="{2BF75A1D-E069-4BA9-9609-AD6F23329F22}" type="presParOf" srcId="{AFF13AFE-7812-4D36-B9EA-D75C5ECE6080}" destId="{2E07CC61-7946-4395-AF3B-44ADB8B5F5B7}"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6A3E51-FE6E-4FA7-9356-66B85B5E96EA}"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B5B486D5-32D8-4A06-B7A4-A163C7546D94}">
      <dgm:prSet phldrT="[Text]" custT="1"/>
      <dgm:spPr>
        <a:ln>
          <a:solidFill>
            <a:srgbClr val="008080"/>
          </a:solidFill>
        </a:ln>
      </dgm:spPr>
      <dgm:t>
        <a:bodyPr/>
        <a:lstStyle/>
        <a:p>
          <a:r>
            <a:rPr lang="en-US" sz="1800" dirty="0"/>
            <a:t>Low Risk</a:t>
          </a:r>
        </a:p>
      </dgm:t>
    </dgm:pt>
    <dgm:pt modelId="{2867D9D3-6BE1-43AB-8D01-C593AEF7B741}" type="parTrans" cxnId="{A94E2F4E-5817-44D5-8D7A-BFD2344A8CF3}">
      <dgm:prSet/>
      <dgm:spPr/>
      <dgm:t>
        <a:bodyPr/>
        <a:lstStyle/>
        <a:p>
          <a:endParaRPr lang="en-US" sz="5400"/>
        </a:p>
      </dgm:t>
    </dgm:pt>
    <dgm:pt modelId="{D2631407-BBDB-4A5C-B07E-685CF90002E4}" type="sibTrans" cxnId="{A94E2F4E-5817-44D5-8D7A-BFD2344A8CF3}">
      <dgm:prSet/>
      <dgm:spPr/>
      <dgm:t>
        <a:bodyPr/>
        <a:lstStyle/>
        <a:p>
          <a:endParaRPr lang="en-US" sz="5400"/>
        </a:p>
      </dgm:t>
    </dgm:pt>
    <dgm:pt modelId="{F7F60FF1-6EF5-42B3-8F3B-B589ED2C947F}">
      <dgm:prSet phldrT="[Text]" custT="1"/>
      <dgm:spPr>
        <a:ln>
          <a:solidFill>
            <a:srgbClr val="008080"/>
          </a:solidFill>
        </a:ln>
      </dgm:spPr>
      <dgm:t>
        <a:bodyPr/>
        <a:lstStyle/>
        <a:p>
          <a:r>
            <a:rPr lang="en-US" sz="1800" dirty="0"/>
            <a:t>Medium Risk</a:t>
          </a:r>
        </a:p>
      </dgm:t>
    </dgm:pt>
    <dgm:pt modelId="{5F09BD09-B02B-43A6-A21E-9E8C2B481AF8}" type="parTrans" cxnId="{98B773AF-05B2-474A-9A45-18327A7DDBF7}">
      <dgm:prSet/>
      <dgm:spPr/>
      <dgm:t>
        <a:bodyPr/>
        <a:lstStyle/>
        <a:p>
          <a:endParaRPr lang="en-US" sz="5400"/>
        </a:p>
      </dgm:t>
    </dgm:pt>
    <dgm:pt modelId="{6D8F98F0-F2EB-4140-8479-F39E589ED170}" type="sibTrans" cxnId="{98B773AF-05B2-474A-9A45-18327A7DDBF7}">
      <dgm:prSet/>
      <dgm:spPr/>
      <dgm:t>
        <a:bodyPr/>
        <a:lstStyle/>
        <a:p>
          <a:endParaRPr lang="en-US" sz="5400"/>
        </a:p>
      </dgm:t>
    </dgm:pt>
    <dgm:pt modelId="{1FCFA162-AE4B-48EC-BAE8-BB7B026E3318}">
      <dgm:prSet phldrT="[Text]" custT="1"/>
      <dgm:spPr>
        <a:ln>
          <a:solidFill>
            <a:srgbClr val="008080"/>
          </a:solidFill>
        </a:ln>
      </dgm:spPr>
      <dgm:t>
        <a:bodyPr/>
        <a:lstStyle/>
        <a:p>
          <a:r>
            <a:rPr lang="en-US" sz="1800" dirty="0"/>
            <a:t>High Risk</a:t>
          </a:r>
        </a:p>
      </dgm:t>
    </dgm:pt>
    <dgm:pt modelId="{A9ED3542-E466-4FAF-A1C0-8C632541CF24}" type="parTrans" cxnId="{1134AED3-8782-44A9-95E7-C7C17A46206B}">
      <dgm:prSet/>
      <dgm:spPr/>
      <dgm:t>
        <a:bodyPr/>
        <a:lstStyle/>
        <a:p>
          <a:endParaRPr lang="en-US" sz="5400"/>
        </a:p>
      </dgm:t>
    </dgm:pt>
    <dgm:pt modelId="{E645FBE6-9C35-4761-B753-1EBD6EDE7202}" type="sibTrans" cxnId="{1134AED3-8782-44A9-95E7-C7C17A46206B}">
      <dgm:prSet/>
      <dgm:spPr/>
      <dgm:t>
        <a:bodyPr/>
        <a:lstStyle/>
        <a:p>
          <a:endParaRPr lang="en-US" sz="5400"/>
        </a:p>
      </dgm:t>
    </dgm:pt>
    <dgm:pt modelId="{FB9A311F-9E90-4037-AB06-561C5E715757}">
      <dgm:prSet phldrT="[Text]" custT="1"/>
      <dgm:spPr>
        <a:ln>
          <a:solidFill>
            <a:srgbClr val="008080"/>
          </a:solidFill>
        </a:ln>
      </dgm:spPr>
      <dgm:t>
        <a:bodyPr/>
        <a:lstStyle/>
        <a:p>
          <a:r>
            <a:rPr lang="en-US" sz="1400" dirty="0"/>
            <a:t>High STI (30%)</a:t>
          </a:r>
        </a:p>
      </dgm:t>
    </dgm:pt>
    <dgm:pt modelId="{2939ADC9-3944-485C-81FE-DF96CCC982C5}" type="parTrans" cxnId="{E39FD3B1-3AC4-49D9-AC29-3C3C3BFEFA9A}">
      <dgm:prSet/>
      <dgm:spPr/>
      <dgm:t>
        <a:bodyPr/>
        <a:lstStyle/>
        <a:p>
          <a:endParaRPr lang="en-US" sz="5400"/>
        </a:p>
      </dgm:t>
    </dgm:pt>
    <dgm:pt modelId="{23D59B75-6946-43CE-A0D5-D4248A180012}" type="sibTrans" cxnId="{E39FD3B1-3AC4-49D9-AC29-3C3C3BFEFA9A}">
      <dgm:prSet/>
      <dgm:spPr/>
      <dgm:t>
        <a:bodyPr/>
        <a:lstStyle/>
        <a:p>
          <a:endParaRPr lang="en-US" sz="5400"/>
        </a:p>
      </dgm:t>
    </dgm:pt>
    <dgm:pt modelId="{5D6F5ED1-CF17-440E-8DB6-ADCD5E7BB223}">
      <dgm:prSet phldrT="[Text]" custT="1"/>
      <dgm:spPr>
        <a:ln>
          <a:solidFill>
            <a:srgbClr val="008080"/>
          </a:solidFill>
        </a:ln>
      </dgm:spPr>
      <dgm:t>
        <a:bodyPr/>
        <a:lstStyle/>
        <a:p>
          <a:r>
            <a:rPr lang="en-US" sz="1400" dirty="0"/>
            <a:t>High STI (30%)</a:t>
          </a:r>
        </a:p>
      </dgm:t>
    </dgm:pt>
    <dgm:pt modelId="{DDBBAB9E-10B6-40F9-A5DB-44D21F7E46AE}" type="parTrans" cxnId="{FBE79076-63A3-4A91-8021-FE8F1E9D1BC0}">
      <dgm:prSet/>
      <dgm:spPr/>
      <dgm:t>
        <a:bodyPr/>
        <a:lstStyle/>
        <a:p>
          <a:endParaRPr lang="en-US" sz="5400"/>
        </a:p>
      </dgm:t>
    </dgm:pt>
    <dgm:pt modelId="{3398B1F5-D183-4FDF-A8B6-B67E5BAE4ACB}" type="sibTrans" cxnId="{FBE79076-63A3-4A91-8021-FE8F1E9D1BC0}">
      <dgm:prSet/>
      <dgm:spPr/>
      <dgm:t>
        <a:bodyPr/>
        <a:lstStyle/>
        <a:p>
          <a:endParaRPr lang="en-US" sz="5400"/>
        </a:p>
      </dgm:t>
    </dgm:pt>
    <dgm:pt modelId="{15261002-274F-45BB-BF08-7A3108673804}">
      <dgm:prSet phldrT="[Text]" custT="1"/>
      <dgm:spPr>
        <a:ln>
          <a:solidFill>
            <a:srgbClr val="008080"/>
          </a:solidFill>
        </a:ln>
      </dgm:spPr>
      <dgm:t>
        <a:bodyPr/>
        <a:lstStyle/>
        <a:p>
          <a:r>
            <a:rPr lang="en-US" sz="1400" dirty="0"/>
            <a:t>Low STI (10%)</a:t>
          </a:r>
        </a:p>
      </dgm:t>
    </dgm:pt>
    <dgm:pt modelId="{2C1DCB2E-A357-4FF1-8324-4612885C5681}" type="sibTrans" cxnId="{2596B03C-D4B7-41A9-AD2E-F36DC899EBA7}">
      <dgm:prSet/>
      <dgm:spPr/>
      <dgm:t>
        <a:bodyPr/>
        <a:lstStyle/>
        <a:p>
          <a:endParaRPr lang="en-US" sz="5400"/>
        </a:p>
      </dgm:t>
    </dgm:pt>
    <dgm:pt modelId="{9D61BEC6-AA4F-4F0E-94CD-373BD28C068C}" type="parTrans" cxnId="{2596B03C-D4B7-41A9-AD2E-F36DC899EBA7}">
      <dgm:prSet/>
      <dgm:spPr/>
      <dgm:t>
        <a:bodyPr/>
        <a:lstStyle/>
        <a:p>
          <a:endParaRPr lang="en-US" sz="5400"/>
        </a:p>
      </dgm:t>
    </dgm:pt>
    <dgm:pt modelId="{B34F4844-EFCD-4FCB-B40D-8FC39C857011}">
      <dgm:prSet phldrT="[Text]" custT="1"/>
      <dgm:spPr>
        <a:ln>
          <a:solidFill>
            <a:srgbClr val="008080"/>
          </a:solidFill>
        </a:ln>
      </dgm:spPr>
      <dgm:t>
        <a:bodyPr/>
        <a:lstStyle/>
        <a:p>
          <a:r>
            <a:rPr lang="en-US" sz="1400" dirty="0"/>
            <a:t>Low concurrency </a:t>
          </a:r>
        </a:p>
      </dgm:t>
    </dgm:pt>
    <dgm:pt modelId="{955199C2-5EA8-428C-8AD1-0DA88903E1A8}" type="parTrans" cxnId="{072DB55B-2734-4979-AEA5-3CAAB718C6FB}">
      <dgm:prSet/>
      <dgm:spPr/>
      <dgm:t>
        <a:bodyPr/>
        <a:lstStyle/>
        <a:p>
          <a:endParaRPr lang="en-US"/>
        </a:p>
      </dgm:t>
    </dgm:pt>
    <dgm:pt modelId="{526B6F94-4C79-470A-8A1F-7B89067B4E37}" type="sibTrans" cxnId="{072DB55B-2734-4979-AEA5-3CAAB718C6FB}">
      <dgm:prSet/>
      <dgm:spPr/>
      <dgm:t>
        <a:bodyPr/>
        <a:lstStyle/>
        <a:p>
          <a:endParaRPr lang="en-US"/>
        </a:p>
      </dgm:t>
    </dgm:pt>
    <dgm:pt modelId="{5609A1BB-756B-45F4-9EFE-A96BFAF28ED1}">
      <dgm:prSet phldrT="[Text]" custT="1"/>
      <dgm:spPr>
        <a:ln>
          <a:solidFill>
            <a:srgbClr val="008080"/>
          </a:solidFill>
        </a:ln>
      </dgm:spPr>
      <dgm:t>
        <a:bodyPr/>
        <a:lstStyle/>
        <a:p>
          <a:r>
            <a:rPr lang="en-US" sz="1400" dirty="0"/>
            <a:t>High concurrency</a:t>
          </a:r>
        </a:p>
      </dgm:t>
    </dgm:pt>
    <dgm:pt modelId="{A84B105E-C134-481D-82D0-EDE7C760611B}" type="parTrans" cxnId="{4105870E-CBC5-467D-AD1D-B7330AE9920A}">
      <dgm:prSet/>
      <dgm:spPr/>
      <dgm:t>
        <a:bodyPr/>
        <a:lstStyle/>
        <a:p>
          <a:endParaRPr lang="en-US"/>
        </a:p>
      </dgm:t>
    </dgm:pt>
    <dgm:pt modelId="{C1CD9181-FC66-417D-9872-AEA7485E3AFF}" type="sibTrans" cxnId="{4105870E-CBC5-467D-AD1D-B7330AE9920A}">
      <dgm:prSet/>
      <dgm:spPr/>
      <dgm:t>
        <a:bodyPr/>
        <a:lstStyle/>
        <a:p>
          <a:endParaRPr lang="en-US"/>
        </a:p>
      </dgm:t>
    </dgm:pt>
    <dgm:pt modelId="{BF10A85B-2292-45B7-BE12-83957F936CC5}">
      <dgm:prSet phldrT="[Text]" custT="1"/>
      <dgm:spPr>
        <a:ln>
          <a:solidFill>
            <a:srgbClr val="008080"/>
          </a:solidFill>
        </a:ln>
      </dgm:spPr>
      <dgm:t>
        <a:bodyPr/>
        <a:lstStyle/>
        <a:p>
          <a:r>
            <a:rPr lang="en-US" sz="1400" dirty="0"/>
            <a:t>Universal concurrency</a:t>
          </a:r>
        </a:p>
      </dgm:t>
    </dgm:pt>
    <dgm:pt modelId="{D7705E62-C36B-4AA0-8B1C-90DD9407B1DC}" type="parTrans" cxnId="{7C988BEA-C7EC-481F-BEEE-B8F660003039}">
      <dgm:prSet/>
      <dgm:spPr/>
      <dgm:t>
        <a:bodyPr/>
        <a:lstStyle/>
        <a:p>
          <a:endParaRPr lang="en-US"/>
        </a:p>
      </dgm:t>
    </dgm:pt>
    <dgm:pt modelId="{CD79DBC8-F14D-4972-A4BF-2B1866FE42FE}" type="sibTrans" cxnId="{7C988BEA-C7EC-481F-BEEE-B8F660003039}">
      <dgm:prSet/>
      <dgm:spPr/>
      <dgm:t>
        <a:bodyPr/>
        <a:lstStyle/>
        <a:p>
          <a:endParaRPr lang="en-US"/>
        </a:p>
      </dgm:t>
    </dgm:pt>
    <dgm:pt modelId="{568A5072-F8AD-4CB6-BB25-5B7467B41354}">
      <dgm:prSet phldrT="[Text]" custT="1"/>
      <dgm:spPr>
        <a:ln>
          <a:solidFill>
            <a:srgbClr val="008080"/>
          </a:solidFill>
        </a:ln>
      </dgm:spPr>
      <dgm:t>
        <a:bodyPr/>
        <a:lstStyle/>
        <a:p>
          <a:r>
            <a:rPr lang="en-US" sz="1400" dirty="0"/>
            <a:t>General population</a:t>
          </a:r>
        </a:p>
      </dgm:t>
    </dgm:pt>
    <dgm:pt modelId="{2B21B754-559D-4B47-ADF8-7E20FED51F87}" type="parTrans" cxnId="{4D5331EF-6D0C-4936-A549-7325D93CC6E9}">
      <dgm:prSet/>
      <dgm:spPr/>
      <dgm:t>
        <a:bodyPr/>
        <a:lstStyle/>
        <a:p>
          <a:endParaRPr lang="en-US"/>
        </a:p>
      </dgm:t>
    </dgm:pt>
    <dgm:pt modelId="{DB1C1377-06E0-4116-AD26-35D4F082AC32}" type="sibTrans" cxnId="{4D5331EF-6D0C-4936-A549-7325D93CC6E9}">
      <dgm:prSet/>
      <dgm:spPr/>
      <dgm:t>
        <a:bodyPr/>
        <a:lstStyle/>
        <a:p>
          <a:endParaRPr lang="en-US"/>
        </a:p>
      </dgm:t>
    </dgm:pt>
    <dgm:pt modelId="{4313D2C4-72D0-4B7F-A6F0-1CE6AF1D75AF}">
      <dgm:prSet phldrT="[Text]" custT="1"/>
      <dgm:spPr>
        <a:ln>
          <a:solidFill>
            <a:srgbClr val="008080"/>
          </a:solidFill>
        </a:ln>
      </dgm:spPr>
      <dgm:t>
        <a:bodyPr/>
        <a:lstStyle/>
        <a:p>
          <a:r>
            <a:rPr lang="en-US" sz="1400" dirty="0"/>
            <a:t>General population</a:t>
          </a:r>
        </a:p>
      </dgm:t>
    </dgm:pt>
    <dgm:pt modelId="{D19A60AA-42E4-474A-BF67-D51D32878504}" type="parTrans" cxnId="{3427CDF1-7DA8-449F-9F75-69D4F161854C}">
      <dgm:prSet/>
      <dgm:spPr/>
      <dgm:t>
        <a:bodyPr/>
        <a:lstStyle/>
        <a:p>
          <a:endParaRPr lang="en-US"/>
        </a:p>
      </dgm:t>
    </dgm:pt>
    <dgm:pt modelId="{E1EDEF47-42F1-43E0-8003-981BD3B10AEF}" type="sibTrans" cxnId="{3427CDF1-7DA8-449F-9F75-69D4F161854C}">
      <dgm:prSet/>
      <dgm:spPr/>
      <dgm:t>
        <a:bodyPr/>
        <a:lstStyle/>
        <a:p>
          <a:endParaRPr lang="en-US"/>
        </a:p>
      </dgm:t>
    </dgm:pt>
    <dgm:pt modelId="{594EFCFA-753A-4B95-82D1-679DA32C09E9}">
      <dgm:prSet phldrT="[Text]" custT="1"/>
      <dgm:spPr>
        <a:ln>
          <a:solidFill>
            <a:srgbClr val="008080"/>
          </a:solidFill>
        </a:ln>
      </dgm:spPr>
      <dgm:t>
        <a:bodyPr/>
        <a:lstStyle/>
        <a:p>
          <a:r>
            <a:rPr lang="en-US" sz="1400" dirty="0"/>
            <a:t>FSW and male clients</a:t>
          </a:r>
        </a:p>
      </dgm:t>
    </dgm:pt>
    <dgm:pt modelId="{3F5C78E2-AF64-497B-8508-085863351F30}" type="parTrans" cxnId="{296B3E8C-F13E-4272-B8E4-D80EDA0AF5E8}">
      <dgm:prSet/>
      <dgm:spPr/>
      <dgm:t>
        <a:bodyPr/>
        <a:lstStyle/>
        <a:p>
          <a:endParaRPr lang="en-US"/>
        </a:p>
      </dgm:t>
    </dgm:pt>
    <dgm:pt modelId="{25701839-435D-4ABB-AFD5-745E2C854993}" type="sibTrans" cxnId="{296B3E8C-F13E-4272-B8E4-D80EDA0AF5E8}">
      <dgm:prSet/>
      <dgm:spPr/>
      <dgm:t>
        <a:bodyPr/>
        <a:lstStyle/>
        <a:p>
          <a:endParaRPr lang="en-US"/>
        </a:p>
      </dgm:t>
    </dgm:pt>
    <dgm:pt modelId="{4A9AEA0B-34ED-4F7A-BC2B-B3E3458C9F0B}" type="pres">
      <dgm:prSet presAssocID="{F66A3E51-FE6E-4FA7-9356-66B85B5E96EA}" presName="Name0" presStyleCnt="0">
        <dgm:presLayoutVars>
          <dgm:dir/>
          <dgm:resizeHandles val="exact"/>
        </dgm:presLayoutVars>
      </dgm:prSet>
      <dgm:spPr/>
    </dgm:pt>
    <dgm:pt modelId="{C3F85D9F-47F3-4B95-8686-E604BA591B97}" type="pres">
      <dgm:prSet presAssocID="{B5B486D5-32D8-4A06-B7A4-A163C7546D94}" presName="composite" presStyleCnt="0"/>
      <dgm:spPr/>
    </dgm:pt>
    <dgm:pt modelId="{1CBD6E5D-4AD2-4034-A851-87BF1046D354}" type="pres">
      <dgm:prSet presAssocID="{B5B486D5-32D8-4A06-B7A4-A163C7546D94}" presName="bgChev" presStyleLbl="node1" presStyleIdx="0" presStyleCnt="3"/>
      <dgm:spPr>
        <a:solidFill>
          <a:srgbClr val="008080"/>
        </a:solidFill>
      </dgm:spPr>
    </dgm:pt>
    <dgm:pt modelId="{AED54DB9-F020-47F3-8063-DAB6F3BCD528}" type="pres">
      <dgm:prSet presAssocID="{B5B486D5-32D8-4A06-B7A4-A163C7546D94}" presName="txNode" presStyleLbl="fgAcc1" presStyleIdx="0" presStyleCnt="3" custScaleY="138055" custLinFactNeighborX="47" custLinFactNeighborY="91924">
        <dgm:presLayoutVars>
          <dgm:bulletEnabled val="1"/>
        </dgm:presLayoutVars>
      </dgm:prSet>
      <dgm:spPr/>
    </dgm:pt>
    <dgm:pt modelId="{87BB6EDF-746C-4160-AD8A-BD8807D7BF59}" type="pres">
      <dgm:prSet presAssocID="{D2631407-BBDB-4A5C-B07E-685CF90002E4}" presName="compositeSpace" presStyleCnt="0"/>
      <dgm:spPr/>
    </dgm:pt>
    <dgm:pt modelId="{8C907521-6E47-4958-94FC-09902BDCDDF9}" type="pres">
      <dgm:prSet presAssocID="{F7F60FF1-6EF5-42B3-8F3B-B589ED2C947F}" presName="composite" presStyleCnt="0"/>
      <dgm:spPr/>
    </dgm:pt>
    <dgm:pt modelId="{802EB083-34C9-48F3-AAC2-B8B0254C0D7B}" type="pres">
      <dgm:prSet presAssocID="{F7F60FF1-6EF5-42B3-8F3B-B589ED2C947F}" presName="bgChev" presStyleLbl="node1" presStyleIdx="1" presStyleCnt="3"/>
      <dgm:spPr>
        <a:solidFill>
          <a:srgbClr val="008080"/>
        </a:solidFill>
      </dgm:spPr>
    </dgm:pt>
    <dgm:pt modelId="{7CA0160A-316E-44FF-A595-61A516AD0184}" type="pres">
      <dgm:prSet presAssocID="{F7F60FF1-6EF5-42B3-8F3B-B589ED2C947F}" presName="txNode" presStyleLbl="fgAcc1" presStyleIdx="1" presStyleCnt="3" custScaleY="138055" custLinFactNeighborX="47" custLinFactNeighborY="91924">
        <dgm:presLayoutVars>
          <dgm:bulletEnabled val="1"/>
        </dgm:presLayoutVars>
      </dgm:prSet>
      <dgm:spPr/>
    </dgm:pt>
    <dgm:pt modelId="{974D4E91-E223-461B-94ED-C76DFCA54573}" type="pres">
      <dgm:prSet presAssocID="{6D8F98F0-F2EB-4140-8479-F39E589ED170}" presName="compositeSpace" presStyleCnt="0"/>
      <dgm:spPr/>
    </dgm:pt>
    <dgm:pt modelId="{5D75A4AB-134B-410D-97DB-37AB294DED3E}" type="pres">
      <dgm:prSet presAssocID="{1FCFA162-AE4B-48EC-BAE8-BB7B026E3318}" presName="composite" presStyleCnt="0"/>
      <dgm:spPr/>
    </dgm:pt>
    <dgm:pt modelId="{1CB424A6-55E2-4884-8FF3-8719E8C4D46E}" type="pres">
      <dgm:prSet presAssocID="{1FCFA162-AE4B-48EC-BAE8-BB7B026E3318}" presName="bgChev" presStyleLbl="node1" presStyleIdx="2" presStyleCnt="3"/>
      <dgm:spPr>
        <a:solidFill>
          <a:srgbClr val="008080"/>
        </a:solidFill>
      </dgm:spPr>
    </dgm:pt>
    <dgm:pt modelId="{CFC07264-7196-4A7D-B61E-C49397CD88AE}" type="pres">
      <dgm:prSet presAssocID="{1FCFA162-AE4B-48EC-BAE8-BB7B026E3318}" presName="txNode" presStyleLbl="fgAcc1" presStyleIdx="2" presStyleCnt="3" custScaleY="138055" custLinFactNeighborX="47" custLinFactNeighborY="91924">
        <dgm:presLayoutVars>
          <dgm:bulletEnabled val="1"/>
        </dgm:presLayoutVars>
      </dgm:prSet>
      <dgm:spPr/>
    </dgm:pt>
  </dgm:ptLst>
  <dgm:cxnLst>
    <dgm:cxn modelId="{4105870E-CBC5-467D-AD1D-B7330AE9920A}" srcId="{F7F60FF1-6EF5-42B3-8F3B-B589ED2C947F}" destId="{5609A1BB-756B-45F4-9EFE-A96BFAF28ED1}" srcOrd="2" destOrd="0" parTransId="{A84B105E-C134-481D-82D0-EDE7C760611B}" sibTransId="{C1CD9181-FC66-417D-9872-AEA7485E3AFF}"/>
    <dgm:cxn modelId="{ECF6851D-5310-4A3A-A141-C02C47E51FF1}" type="presOf" srcId="{B5B486D5-32D8-4A06-B7A4-A163C7546D94}" destId="{AED54DB9-F020-47F3-8063-DAB6F3BCD528}" srcOrd="0" destOrd="0" presId="urn:microsoft.com/office/officeart/2005/8/layout/chevronAccent+Icon"/>
    <dgm:cxn modelId="{8489761F-3273-43D4-BF58-C6020E534B32}" type="presOf" srcId="{594EFCFA-753A-4B95-82D1-679DA32C09E9}" destId="{CFC07264-7196-4A7D-B61E-C49397CD88AE}" srcOrd="0" destOrd="1" presId="urn:microsoft.com/office/officeart/2005/8/layout/chevronAccent+Icon"/>
    <dgm:cxn modelId="{2596B03C-D4B7-41A9-AD2E-F36DC899EBA7}" srcId="{B5B486D5-32D8-4A06-B7A4-A163C7546D94}" destId="{15261002-274F-45BB-BF08-7A3108673804}" srcOrd="1" destOrd="0" parTransId="{9D61BEC6-AA4F-4F0E-94CD-373BD28C068C}" sibTransId="{2C1DCB2E-A357-4FF1-8324-4612885C5681}"/>
    <dgm:cxn modelId="{A94E2F4E-5817-44D5-8D7A-BFD2344A8CF3}" srcId="{F66A3E51-FE6E-4FA7-9356-66B85B5E96EA}" destId="{B5B486D5-32D8-4A06-B7A4-A163C7546D94}" srcOrd="0" destOrd="0" parTransId="{2867D9D3-6BE1-43AB-8D01-C593AEF7B741}" sibTransId="{D2631407-BBDB-4A5C-B07E-685CF90002E4}"/>
    <dgm:cxn modelId="{03CB3E50-EC07-4E18-B043-3E6EE83CD497}" type="presOf" srcId="{B34F4844-EFCD-4FCB-B40D-8FC39C857011}" destId="{AED54DB9-F020-47F3-8063-DAB6F3BCD528}" srcOrd="0" destOrd="3" presId="urn:microsoft.com/office/officeart/2005/8/layout/chevronAccent+Icon"/>
    <dgm:cxn modelId="{072DB55B-2734-4979-AEA5-3CAAB718C6FB}" srcId="{B5B486D5-32D8-4A06-B7A4-A163C7546D94}" destId="{B34F4844-EFCD-4FCB-B40D-8FC39C857011}" srcOrd="2" destOrd="0" parTransId="{955199C2-5EA8-428C-8AD1-0DA88903E1A8}" sibTransId="{526B6F94-4C79-470A-8A1F-7B89067B4E37}"/>
    <dgm:cxn modelId="{DFA34E6D-7DBC-4F8A-8357-0D2E9E092EBD}" type="presOf" srcId="{568A5072-F8AD-4CB6-BB25-5B7467B41354}" destId="{AED54DB9-F020-47F3-8063-DAB6F3BCD528}" srcOrd="0" destOrd="1" presId="urn:microsoft.com/office/officeart/2005/8/layout/chevronAccent+Icon"/>
    <dgm:cxn modelId="{345AF071-8BA1-43CF-A9D4-F77A1132A075}" type="presOf" srcId="{1FCFA162-AE4B-48EC-BAE8-BB7B026E3318}" destId="{CFC07264-7196-4A7D-B61E-C49397CD88AE}" srcOrd="0" destOrd="0" presId="urn:microsoft.com/office/officeart/2005/8/layout/chevronAccent+Icon"/>
    <dgm:cxn modelId="{FBE79076-63A3-4A91-8021-FE8F1E9D1BC0}" srcId="{1FCFA162-AE4B-48EC-BAE8-BB7B026E3318}" destId="{5D6F5ED1-CF17-440E-8DB6-ADCD5E7BB223}" srcOrd="1" destOrd="0" parTransId="{DDBBAB9E-10B6-40F9-A5DB-44D21F7E46AE}" sibTransId="{3398B1F5-D183-4FDF-A8B6-B67E5BAE4ACB}"/>
    <dgm:cxn modelId="{71AA9285-5F05-424E-9EC5-E7C6E33767CA}" type="presOf" srcId="{5609A1BB-756B-45F4-9EFE-A96BFAF28ED1}" destId="{7CA0160A-316E-44FF-A595-61A516AD0184}" srcOrd="0" destOrd="3" presId="urn:microsoft.com/office/officeart/2005/8/layout/chevronAccent+Icon"/>
    <dgm:cxn modelId="{296B3E8C-F13E-4272-B8E4-D80EDA0AF5E8}" srcId="{1FCFA162-AE4B-48EC-BAE8-BB7B026E3318}" destId="{594EFCFA-753A-4B95-82D1-679DA32C09E9}" srcOrd="0" destOrd="0" parTransId="{3F5C78E2-AF64-497B-8508-085863351F30}" sibTransId="{25701839-435D-4ABB-AFD5-745E2C854993}"/>
    <dgm:cxn modelId="{5F991A90-AA29-4240-9C4D-D8982D97840B}" type="presOf" srcId="{15261002-274F-45BB-BF08-7A3108673804}" destId="{AED54DB9-F020-47F3-8063-DAB6F3BCD528}" srcOrd="0" destOrd="2" presId="urn:microsoft.com/office/officeart/2005/8/layout/chevronAccent+Icon"/>
    <dgm:cxn modelId="{883E8E94-0AA9-41E4-919E-F33F60E901C9}" type="presOf" srcId="{FB9A311F-9E90-4037-AB06-561C5E715757}" destId="{7CA0160A-316E-44FF-A595-61A516AD0184}" srcOrd="0" destOrd="2" presId="urn:microsoft.com/office/officeart/2005/8/layout/chevronAccent+Icon"/>
    <dgm:cxn modelId="{98EC3898-7DB5-492D-BE79-2E5966A99B4E}" type="presOf" srcId="{F7F60FF1-6EF5-42B3-8F3B-B589ED2C947F}" destId="{7CA0160A-316E-44FF-A595-61A516AD0184}" srcOrd="0" destOrd="0" presId="urn:microsoft.com/office/officeart/2005/8/layout/chevronAccent+Icon"/>
    <dgm:cxn modelId="{5A1BAFA5-665E-4D7D-A370-FEDB0E6CFD27}" type="presOf" srcId="{BF10A85B-2292-45B7-BE12-83957F936CC5}" destId="{CFC07264-7196-4A7D-B61E-C49397CD88AE}" srcOrd="0" destOrd="3" presId="urn:microsoft.com/office/officeart/2005/8/layout/chevronAccent+Icon"/>
    <dgm:cxn modelId="{98B773AF-05B2-474A-9A45-18327A7DDBF7}" srcId="{F66A3E51-FE6E-4FA7-9356-66B85B5E96EA}" destId="{F7F60FF1-6EF5-42B3-8F3B-B589ED2C947F}" srcOrd="1" destOrd="0" parTransId="{5F09BD09-B02B-43A6-A21E-9E8C2B481AF8}" sibTransId="{6D8F98F0-F2EB-4140-8479-F39E589ED170}"/>
    <dgm:cxn modelId="{E39FD3B1-3AC4-49D9-AC29-3C3C3BFEFA9A}" srcId="{F7F60FF1-6EF5-42B3-8F3B-B589ED2C947F}" destId="{FB9A311F-9E90-4037-AB06-561C5E715757}" srcOrd="1" destOrd="0" parTransId="{2939ADC9-3944-485C-81FE-DF96CCC982C5}" sibTransId="{23D59B75-6946-43CE-A0D5-D4248A180012}"/>
    <dgm:cxn modelId="{951DEDC9-C723-414A-B45B-39D4683C537C}" type="presOf" srcId="{5D6F5ED1-CF17-440E-8DB6-ADCD5E7BB223}" destId="{CFC07264-7196-4A7D-B61E-C49397CD88AE}" srcOrd="0" destOrd="2" presId="urn:microsoft.com/office/officeart/2005/8/layout/chevronAccent+Icon"/>
    <dgm:cxn modelId="{1134AED3-8782-44A9-95E7-C7C17A46206B}" srcId="{F66A3E51-FE6E-4FA7-9356-66B85B5E96EA}" destId="{1FCFA162-AE4B-48EC-BAE8-BB7B026E3318}" srcOrd="2" destOrd="0" parTransId="{A9ED3542-E466-4FAF-A1C0-8C632541CF24}" sibTransId="{E645FBE6-9C35-4761-B753-1EBD6EDE7202}"/>
    <dgm:cxn modelId="{7C988BEA-C7EC-481F-BEEE-B8F660003039}" srcId="{1FCFA162-AE4B-48EC-BAE8-BB7B026E3318}" destId="{BF10A85B-2292-45B7-BE12-83957F936CC5}" srcOrd="2" destOrd="0" parTransId="{D7705E62-C36B-4AA0-8B1C-90DD9407B1DC}" sibTransId="{CD79DBC8-F14D-4972-A4BF-2B1866FE42FE}"/>
    <dgm:cxn modelId="{4D5331EF-6D0C-4936-A549-7325D93CC6E9}" srcId="{B5B486D5-32D8-4A06-B7A4-A163C7546D94}" destId="{568A5072-F8AD-4CB6-BB25-5B7467B41354}" srcOrd="0" destOrd="0" parTransId="{2B21B754-559D-4B47-ADF8-7E20FED51F87}" sibTransId="{DB1C1377-06E0-4116-AD26-35D4F082AC32}"/>
    <dgm:cxn modelId="{3427CDF1-7DA8-449F-9F75-69D4F161854C}" srcId="{F7F60FF1-6EF5-42B3-8F3B-B589ED2C947F}" destId="{4313D2C4-72D0-4B7F-A6F0-1CE6AF1D75AF}" srcOrd="0" destOrd="0" parTransId="{D19A60AA-42E4-474A-BF67-D51D32878504}" sibTransId="{E1EDEF47-42F1-43E0-8003-981BD3B10AEF}"/>
    <dgm:cxn modelId="{BEE830F9-7541-4AA2-B9AC-E5D674BEF409}" type="presOf" srcId="{F66A3E51-FE6E-4FA7-9356-66B85B5E96EA}" destId="{4A9AEA0B-34ED-4F7A-BC2B-B3E3458C9F0B}" srcOrd="0" destOrd="0" presId="urn:microsoft.com/office/officeart/2005/8/layout/chevronAccent+Icon"/>
    <dgm:cxn modelId="{1302BAFD-59A8-4AD5-8AD3-DB36CC5C11EB}" type="presOf" srcId="{4313D2C4-72D0-4B7F-A6F0-1CE6AF1D75AF}" destId="{7CA0160A-316E-44FF-A595-61A516AD0184}" srcOrd="0" destOrd="1" presId="urn:microsoft.com/office/officeart/2005/8/layout/chevronAccent+Icon"/>
    <dgm:cxn modelId="{7D6405CA-F7AA-48C0-8DD3-E06F18841F57}" type="presParOf" srcId="{4A9AEA0B-34ED-4F7A-BC2B-B3E3458C9F0B}" destId="{C3F85D9F-47F3-4B95-8686-E604BA591B97}" srcOrd="0" destOrd="0" presId="urn:microsoft.com/office/officeart/2005/8/layout/chevronAccent+Icon"/>
    <dgm:cxn modelId="{FD1E8453-9743-4AF0-91F9-E4192C71A72F}" type="presParOf" srcId="{C3F85D9F-47F3-4B95-8686-E604BA591B97}" destId="{1CBD6E5D-4AD2-4034-A851-87BF1046D354}" srcOrd="0" destOrd="0" presId="urn:microsoft.com/office/officeart/2005/8/layout/chevronAccent+Icon"/>
    <dgm:cxn modelId="{95E3CACD-F803-4119-A464-244E432CB758}" type="presParOf" srcId="{C3F85D9F-47F3-4B95-8686-E604BA591B97}" destId="{AED54DB9-F020-47F3-8063-DAB6F3BCD528}" srcOrd="1" destOrd="0" presId="urn:microsoft.com/office/officeart/2005/8/layout/chevronAccent+Icon"/>
    <dgm:cxn modelId="{176424A7-C211-4C66-AD33-AFFD036B3D9F}" type="presParOf" srcId="{4A9AEA0B-34ED-4F7A-BC2B-B3E3458C9F0B}" destId="{87BB6EDF-746C-4160-AD8A-BD8807D7BF59}" srcOrd="1" destOrd="0" presId="urn:microsoft.com/office/officeart/2005/8/layout/chevronAccent+Icon"/>
    <dgm:cxn modelId="{21422C59-75AF-4F5E-B20B-9C3E6288E225}" type="presParOf" srcId="{4A9AEA0B-34ED-4F7A-BC2B-B3E3458C9F0B}" destId="{8C907521-6E47-4958-94FC-09902BDCDDF9}" srcOrd="2" destOrd="0" presId="urn:microsoft.com/office/officeart/2005/8/layout/chevronAccent+Icon"/>
    <dgm:cxn modelId="{06FC3603-C0F7-4BBB-84B1-B44F45ABC492}" type="presParOf" srcId="{8C907521-6E47-4958-94FC-09902BDCDDF9}" destId="{802EB083-34C9-48F3-AAC2-B8B0254C0D7B}" srcOrd="0" destOrd="0" presId="urn:microsoft.com/office/officeart/2005/8/layout/chevronAccent+Icon"/>
    <dgm:cxn modelId="{85829C57-8260-4912-BC50-F4BFB541207A}" type="presParOf" srcId="{8C907521-6E47-4958-94FC-09902BDCDDF9}" destId="{7CA0160A-316E-44FF-A595-61A516AD0184}" srcOrd="1" destOrd="0" presId="urn:microsoft.com/office/officeart/2005/8/layout/chevronAccent+Icon"/>
    <dgm:cxn modelId="{AFE91210-8B1D-47ED-BA8E-CF0D146D7F5D}" type="presParOf" srcId="{4A9AEA0B-34ED-4F7A-BC2B-B3E3458C9F0B}" destId="{974D4E91-E223-461B-94ED-C76DFCA54573}" srcOrd="3" destOrd="0" presId="urn:microsoft.com/office/officeart/2005/8/layout/chevronAccent+Icon"/>
    <dgm:cxn modelId="{F5ECA257-09E9-47F1-A559-E21E6BE998C3}" type="presParOf" srcId="{4A9AEA0B-34ED-4F7A-BC2B-B3E3458C9F0B}" destId="{5D75A4AB-134B-410D-97DB-37AB294DED3E}" srcOrd="4" destOrd="0" presId="urn:microsoft.com/office/officeart/2005/8/layout/chevronAccent+Icon"/>
    <dgm:cxn modelId="{5FFB8E1E-72C2-4660-B036-5C692F019E19}" type="presParOf" srcId="{5D75A4AB-134B-410D-97DB-37AB294DED3E}" destId="{1CB424A6-55E2-4884-8FF3-8719E8C4D46E}" srcOrd="0" destOrd="0" presId="urn:microsoft.com/office/officeart/2005/8/layout/chevronAccent+Icon"/>
    <dgm:cxn modelId="{D2E8829C-B8C4-445F-9E0B-B5FD7118332A}" type="presParOf" srcId="{5D75A4AB-134B-410D-97DB-37AB294DED3E}" destId="{CFC07264-7196-4A7D-B61E-C49397CD88AE}" srcOrd="1" destOrd="0" presId="urn:microsoft.com/office/officeart/2005/8/layout/chevronAccent+Icon"/>
  </dgm:cxnLst>
  <dgm:bg/>
  <dgm:whole>
    <a:ln>
      <a:solidFill>
        <a:srgbClr val="008080"/>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BD6E5D-4AD2-4034-A851-87BF1046D354}">
      <dsp:nvSpPr>
        <dsp:cNvPr id="0" name=""/>
        <dsp:cNvSpPr/>
      </dsp:nvSpPr>
      <dsp:spPr>
        <a:xfrm>
          <a:off x="3982" y="1489345"/>
          <a:ext cx="1874453" cy="723539"/>
        </a:xfrm>
        <a:prstGeom prst="chevron">
          <a:avLst>
            <a:gd name="adj" fmla="val 40000"/>
          </a:avLst>
        </a:prstGeom>
        <a:solidFill>
          <a:srgbClr val="0080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D54DB9-F020-47F3-8063-DAB6F3BCD528}">
      <dsp:nvSpPr>
        <dsp:cNvPr id="0" name=""/>
        <dsp:cNvSpPr/>
      </dsp:nvSpPr>
      <dsp:spPr>
        <a:xfrm>
          <a:off x="503836" y="497033"/>
          <a:ext cx="1582872" cy="3069933"/>
        </a:xfrm>
        <a:prstGeom prst="roundRect">
          <a:avLst>
            <a:gd name="adj" fmla="val 10000"/>
          </a:avLst>
        </a:prstGeom>
        <a:solidFill>
          <a:schemeClr val="lt1">
            <a:alpha val="90000"/>
            <a:hueOff val="0"/>
            <a:satOff val="0"/>
            <a:lumOff val="0"/>
            <a:alphaOff val="0"/>
          </a:schemeClr>
        </a:solidFill>
        <a:ln w="25400" cap="flat" cmpd="sng" algn="ctr">
          <a:solidFill>
            <a:srgbClr val="008080"/>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l" defTabSz="800100">
            <a:lnSpc>
              <a:spcPct val="90000"/>
            </a:lnSpc>
            <a:spcBef>
              <a:spcPct val="0"/>
            </a:spcBef>
            <a:spcAft>
              <a:spcPct val="35000"/>
            </a:spcAft>
            <a:buNone/>
          </a:pPr>
          <a:r>
            <a:rPr lang="en-US" sz="1800" kern="1200" dirty="0"/>
            <a:t>Marital</a:t>
          </a:r>
        </a:p>
        <a:p>
          <a:pPr marL="114300" lvl="1" indent="-114300" algn="l" defTabSz="622300">
            <a:lnSpc>
              <a:spcPct val="90000"/>
            </a:lnSpc>
            <a:spcBef>
              <a:spcPct val="0"/>
            </a:spcBef>
            <a:spcAft>
              <a:spcPct val="15000"/>
            </a:spcAft>
            <a:buChar char="•"/>
          </a:pPr>
          <a:r>
            <a:rPr lang="en-US" sz="1400" kern="1200" dirty="0"/>
            <a:t>Longest duration</a:t>
          </a:r>
        </a:p>
        <a:p>
          <a:pPr marL="114300" lvl="1" indent="-114300" algn="l" defTabSz="622300">
            <a:lnSpc>
              <a:spcPct val="90000"/>
            </a:lnSpc>
            <a:spcBef>
              <a:spcPct val="0"/>
            </a:spcBef>
            <a:spcAft>
              <a:spcPct val="15000"/>
            </a:spcAft>
            <a:buChar char="•"/>
          </a:pPr>
          <a:r>
            <a:rPr lang="en-US" sz="1400" kern="1200" dirty="0"/>
            <a:t>Oldest age at formation</a:t>
          </a:r>
        </a:p>
        <a:p>
          <a:pPr marL="114300" lvl="1" indent="-114300" algn="l" defTabSz="622300">
            <a:lnSpc>
              <a:spcPct val="90000"/>
            </a:lnSpc>
            <a:spcBef>
              <a:spcPct val="0"/>
            </a:spcBef>
            <a:spcAft>
              <a:spcPct val="15000"/>
            </a:spcAft>
            <a:buChar char="•"/>
          </a:pPr>
          <a:r>
            <a:rPr lang="en-US" sz="1400" kern="1200" dirty="0"/>
            <a:t>Large gap, women younger than men</a:t>
          </a:r>
        </a:p>
        <a:p>
          <a:pPr marL="114300" lvl="1" indent="-114300" algn="l" defTabSz="622300">
            <a:lnSpc>
              <a:spcPct val="90000"/>
            </a:lnSpc>
            <a:spcBef>
              <a:spcPct val="0"/>
            </a:spcBef>
            <a:spcAft>
              <a:spcPct val="15000"/>
            </a:spcAft>
            <a:buChar char="•"/>
          </a:pPr>
          <a:r>
            <a:rPr lang="en-US" sz="1400" kern="1200" dirty="0"/>
            <a:t>Lowest probability of multiple partnerships</a:t>
          </a:r>
        </a:p>
      </dsp:txBody>
      <dsp:txXfrm>
        <a:off x="550197" y="543394"/>
        <a:ext cx="1490150" cy="2977211"/>
      </dsp:txXfrm>
    </dsp:sp>
    <dsp:sp modelId="{802EB083-34C9-48F3-AAC2-B8B0254C0D7B}">
      <dsp:nvSpPr>
        <dsp:cNvPr id="0" name=""/>
        <dsp:cNvSpPr/>
      </dsp:nvSpPr>
      <dsp:spPr>
        <a:xfrm>
          <a:off x="2145025" y="1489345"/>
          <a:ext cx="1874453" cy="723539"/>
        </a:xfrm>
        <a:prstGeom prst="chevron">
          <a:avLst>
            <a:gd name="adj" fmla="val 40000"/>
          </a:avLst>
        </a:prstGeom>
        <a:solidFill>
          <a:srgbClr val="0080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A0160A-316E-44FF-A595-61A516AD0184}">
      <dsp:nvSpPr>
        <dsp:cNvPr id="0" name=""/>
        <dsp:cNvSpPr/>
      </dsp:nvSpPr>
      <dsp:spPr>
        <a:xfrm>
          <a:off x="2644879" y="497033"/>
          <a:ext cx="1582872" cy="3069933"/>
        </a:xfrm>
        <a:prstGeom prst="roundRect">
          <a:avLst>
            <a:gd name="adj" fmla="val 10000"/>
          </a:avLst>
        </a:prstGeom>
        <a:solidFill>
          <a:schemeClr val="lt1">
            <a:alpha val="90000"/>
            <a:hueOff val="0"/>
            <a:satOff val="0"/>
            <a:lumOff val="0"/>
            <a:alphaOff val="0"/>
          </a:schemeClr>
        </a:solidFill>
        <a:ln w="25400" cap="flat" cmpd="sng" algn="ctr">
          <a:solidFill>
            <a:srgbClr val="008080"/>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l" defTabSz="800100">
            <a:lnSpc>
              <a:spcPct val="90000"/>
            </a:lnSpc>
            <a:spcBef>
              <a:spcPct val="0"/>
            </a:spcBef>
            <a:spcAft>
              <a:spcPct val="35000"/>
            </a:spcAft>
            <a:buNone/>
          </a:pPr>
          <a:r>
            <a:rPr lang="en-US" sz="1800" kern="1200" dirty="0"/>
            <a:t>Informal</a:t>
          </a:r>
        </a:p>
        <a:p>
          <a:pPr marL="114300" lvl="1" indent="-114300" algn="l" defTabSz="622300">
            <a:lnSpc>
              <a:spcPct val="90000"/>
            </a:lnSpc>
            <a:spcBef>
              <a:spcPct val="0"/>
            </a:spcBef>
            <a:spcAft>
              <a:spcPct val="15000"/>
            </a:spcAft>
            <a:buChar char="•"/>
          </a:pPr>
          <a:r>
            <a:rPr lang="en-US" sz="1400" kern="1200" dirty="0"/>
            <a:t>Medium duration</a:t>
          </a:r>
        </a:p>
        <a:p>
          <a:pPr marL="114300" lvl="1" indent="-114300" algn="l" defTabSz="622300">
            <a:lnSpc>
              <a:spcPct val="90000"/>
            </a:lnSpc>
            <a:spcBef>
              <a:spcPct val="0"/>
            </a:spcBef>
            <a:spcAft>
              <a:spcPct val="15000"/>
            </a:spcAft>
            <a:buChar char="•"/>
          </a:pPr>
          <a:r>
            <a:rPr lang="en-US" sz="1400" kern="1200" dirty="0"/>
            <a:t>Intermediate age</a:t>
          </a:r>
        </a:p>
        <a:p>
          <a:pPr marL="114300" lvl="1" indent="-114300" algn="l" defTabSz="622300">
            <a:lnSpc>
              <a:spcPct val="90000"/>
            </a:lnSpc>
            <a:spcBef>
              <a:spcPct val="0"/>
            </a:spcBef>
            <a:spcAft>
              <a:spcPct val="15000"/>
            </a:spcAft>
            <a:buChar char="•"/>
          </a:pPr>
          <a:r>
            <a:rPr lang="en-US" sz="1400" kern="1200" dirty="0"/>
            <a:t>Medium age gap, women younger than men</a:t>
          </a:r>
        </a:p>
        <a:p>
          <a:pPr marL="114300" lvl="1" indent="-114300" algn="l" defTabSz="622300">
            <a:lnSpc>
              <a:spcPct val="90000"/>
            </a:lnSpc>
            <a:spcBef>
              <a:spcPct val="0"/>
            </a:spcBef>
            <a:spcAft>
              <a:spcPct val="15000"/>
            </a:spcAft>
            <a:buChar char="•"/>
          </a:pPr>
          <a:r>
            <a:rPr lang="en-US" sz="1400" kern="1200" dirty="0"/>
            <a:t>Medium probability of multiple partnerships</a:t>
          </a:r>
        </a:p>
      </dsp:txBody>
      <dsp:txXfrm>
        <a:off x="2691240" y="543394"/>
        <a:ext cx="1490150" cy="2977211"/>
      </dsp:txXfrm>
    </dsp:sp>
    <dsp:sp modelId="{1CB424A6-55E2-4884-8FF3-8719E8C4D46E}">
      <dsp:nvSpPr>
        <dsp:cNvPr id="0" name=""/>
        <dsp:cNvSpPr/>
      </dsp:nvSpPr>
      <dsp:spPr>
        <a:xfrm>
          <a:off x="4286068" y="1489345"/>
          <a:ext cx="1874453" cy="723539"/>
        </a:xfrm>
        <a:prstGeom prst="chevron">
          <a:avLst>
            <a:gd name="adj" fmla="val 40000"/>
          </a:avLst>
        </a:prstGeom>
        <a:solidFill>
          <a:srgbClr val="0080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C07264-7196-4A7D-B61E-C49397CD88AE}">
      <dsp:nvSpPr>
        <dsp:cNvPr id="0" name=""/>
        <dsp:cNvSpPr/>
      </dsp:nvSpPr>
      <dsp:spPr>
        <a:xfrm>
          <a:off x="4785922" y="497033"/>
          <a:ext cx="1582872" cy="3069933"/>
        </a:xfrm>
        <a:prstGeom prst="roundRect">
          <a:avLst>
            <a:gd name="adj" fmla="val 10000"/>
          </a:avLst>
        </a:prstGeom>
        <a:solidFill>
          <a:schemeClr val="lt1">
            <a:alpha val="90000"/>
            <a:hueOff val="0"/>
            <a:satOff val="0"/>
            <a:lumOff val="0"/>
            <a:alphaOff val="0"/>
          </a:schemeClr>
        </a:solidFill>
        <a:ln w="25400" cap="flat" cmpd="sng" algn="ctr">
          <a:solidFill>
            <a:srgbClr val="008080"/>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l" defTabSz="800100">
            <a:lnSpc>
              <a:spcPct val="90000"/>
            </a:lnSpc>
            <a:spcBef>
              <a:spcPct val="0"/>
            </a:spcBef>
            <a:spcAft>
              <a:spcPct val="35000"/>
            </a:spcAft>
            <a:buNone/>
          </a:pPr>
          <a:r>
            <a:rPr lang="en-US" sz="1800" kern="1200" dirty="0"/>
            <a:t>Transitory</a:t>
          </a:r>
        </a:p>
        <a:p>
          <a:pPr marL="114300" lvl="1" indent="-114300" algn="l" defTabSz="622300">
            <a:lnSpc>
              <a:spcPct val="90000"/>
            </a:lnSpc>
            <a:spcBef>
              <a:spcPct val="0"/>
            </a:spcBef>
            <a:spcAft>
              <a:spcPct val="15000"/>
            </a:spcAft>
            <a:buChar char="•"/>
          </a:pPr>
          <a:r>
            <a:rPr lang="en-US" sz="1400" kern="1200" dirty="0"/>
            <a:t>Shorter duration (~1 year)</a:t>
          </a:r>
        </a:p>
        <a:p>
          <a:pPr marL="114300" lvl="1" indent="-114300" algn="l" defTabSz="622300">
            <a:lnSpc>
              <a:spcPct val="90000"/>
            </a:lnSpc>
            <a:spcBef>
              <a:spcPct val="0"/>
            </a:spcBef>
            <a:spcAft>
              <a:spcPct val="15000"/>
            </a:spcAft>
            <a:buChar char="•"/>
          </a:pPr>
          <a:r>
            <a:rPr lang="en-US" sz="1400" kern="1200" dirty="0"/>
            <a:t>Young age at formation</a:t>
          </a:r>
        </a:p>
        <a:p>
          <a:pPr marL="114300" lvl="1" indent="-114300" algn="l" defTabSz="622300">
            <a:lnSpc>
              <a:spcPct val="90000"/>
            </a:lnSpc>
            <a:spcBef>
              <a:spcPct val="0"/>
            </a:spcBef>
            <a:spcAft>
              <a:spcPct val="15000"/>
            </a:spcAft>
            <a:buChar char="•"/>
          </a:pPr>
          <a:r>
            <a:rPr lang="en-US" sz="1400" kern="1200" dirty="0"/>
            <a:t>Small age gap</a:t>
          </a:r>
        </a:p>
        <a:p>
          <a:pPr marL="114300" lvl="1" indent="-114300" algn="l" defTabSz="622300">
            <a:lnSpc>
              <a:spcPct val="90000"/>
            </a:lnSpc>
            <a:spcBef>
              <a:spcPct val="0"/>
            </a:spcBef>
            <a:spcAft>
              <a:spcPct val="15000"/>
            </a:spcAft>
            <a:buChar char="•"/>
          </a:pPr>
          <a:r>
            <a:rPr lang="en-US" sz="1400" kern="1200" dirty="0"/>
            <a:t>High probability of multiple partnerships</a:t>
          </a:r>
        </a:p>
      </dsp:txBody>
      <dsp:txXfrm>
        <a:off x="4832283" y="543394"/>
        <a:ext cx="1490150" cy="2977211"/>
      </dsp:txXfrm>
    </dsp:sp>
    <dsp:sp modelId="{4F9344EA-97B9-4B3B-A1A1-13D8BADFAEB1}">
      <dsp:nvSpPr>
        <dsp:cNvPr id="0" name=""/>
        <dsp:cNvSpPr/>
      </dsp:nvSpPr>
      <dsp:spPr>
        <a:xfrm>
          <a:off x="6427110" y="1489345"/>
          <a:ext cx="1874453" cy="723539"/>
        </a:xfrm>
        <a:prstGeom prst="chevron">
          <a:avLst>
            <a:gd name="adj" fmla="val 40000"/>
          </a:avLst>
        </a:prstGeom>
        <a:solidFill>
          <a:srgbClr val="0080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07CC61-7946-4395-AF3B-44ADB8B5F5B7}">
      <dsp:nvSpPr>
        <dsp:cNvPr id="0" name=""/>
        <dsp:cNvSpPr/>
      </dsp:nvSpPr>
      <dsp:spPr>
        <a:xfrm>
          <a:off x="6926965" y="497033"/>
          <a:ext cx="1582872" cy="3069933"/>
        </a:xfrm>
        <a:prstGeom prst="roundRect">
          <a:avLst>
            <a:gd name="adj" fmla="val 10000"/>
          </a:avLst>
        </a:prstGeom>
        <a:solidFill>
          <a:schemeClr val="lt1">
            <a:alpha val="90000"/>
            <a:hueOff val="0"/>
            <a:satOff val="0"/>
            <a:lumOff val="0"/>
            <a:alphaOff val="0"/>
          </a:schemeClr>
        </a:solidFill>
        <a:ln w="25400" cap="flat" cmpd="sng" algn="ctr">
          <a:solidFill>
            <a:srgbClr val="008080"/>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l" defTabSz="800100">
            <a:lnSpc>
              <a:spcPct val="90000"/>
            </a:lnSpc>
            <a:spcBef>
              <a:spcPct val="0"/>
            </a:spcBef>
            <a:spcAft>
              <a:spcPct val="35000"/>
            </a:spcAft>
            <a:buNone/>
          </a:pPr>
          <a:r>
            <a:rPr lang="en-US" sz="1800" kern="1200" dirty="0"/>
            <a:t>Commercial</a:t>
          </a:r>
        </a:p>
        <a:p>
          <a:pPr marL="114300" lvl="1" indent="-114300" algn="l" defTabSz="622300">
            <a:lnSpc>
              <a:spcPct val="90000"/>
            </a:lnSpc>
            <a:spcBef>
              <a:spcPct val="0"/>
            </a:spcBef>
            <a:spcAft>
              <a:spcPct val="15000"/>
            </a:spcAft>
            <a:buChar char="•"/>
          </a:pPr>
          <a:r>
            <a:rPr lang="en-US" sz="1400" kern="1200" dirty="0"/>
            <a:t>Very short, only one to two </a:t>
          </a:r>
          <a:r>
            <a:rPr lang="en-US" sz="1400" kern="1200" dirty="0" err="1"/>
            <a:t>liasons</a:t>
          </a:r>
          <a:r>
            <a:rPr lang="en-US" sz="1400" kern="1200" dirty="0"/>
            <a:t> per relationship</a:t>
          </a:r>
        </a:p>
        <a:p>
          <a:pPr marL="114300" lvl="1" indent="-114300" algn="l" defTabSz="622300">
            <a:lnSpc>
              <a:spcPct val="90000"/>
            </a:lnSpc>
            <a:spcBef>
              <a:spcPct val="0"/>
            </a:spcBef>
            <a:spcAft>
              <a:spcPct val="15000"/>
            </a:spcAft>
            <a:buChar char="•"/>
          </a:pPr>
          <a:r>
            <a:rPr lang="en-US" sz="1400" kern="1200" dirty="0"/>
            <a:t>Young women, broad age range of men</a:t>
          </a:r>
        </a:p>
        <a:p>
          <a:pPr marL="114300" lvl="1" indent="-114300" algn="l" defTabSz="622300">
            <a:lnSpc>
              <a:spcPct val="90000"/>
            </a:lnSpc>
            <a:spcBef>
              <a:spcPct val="0"/>
            </a:spcBef>
            <a:spcAft>
              <a:spcPct val="15000"/>
            </a:spcAft>
            <a:buChar char="•"/>
          </a:pPr>
          <a:r>
            <a:rPr lang="en-US" sz="1400" kern="1200" dirty="0"/>
            <a:t>Variable age gap</a:t>
          </a:r>
        </a:p>
        <a:p>
          <a:pPr marL="114300" lvl="1" indent="-114300" algn="l" defTabSz="622300">
            <a:lnSpc>
              <a:spcPct val="90000"/>
            </a:lnSpc>
            <a:spcBef>
              <a:spcPct val="0"/>
            </a:spcBef>
            <a:spcAft>
              <a:spcPct val="15000"/>
            </a:spcAft>
            <a:buChar char="•"/>
          </a:pPr>
          <a:r>
            <a:rPr lang="en-US" sz="1400" kern="1200" dirty="0"/>
            <a:t>Many different partners</a:t>
          </a:r>
        </a:p>
      </dsp:txBody>
      <dsp:txXfrm>
        <a:off x="6973326" y="543394"/>
        <a:ext cx="1490150" cy="29772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BD6E5D-4AD2-4034-A851-87BF1046D354}">
      <dsp:nvSpPr>
        <dsp:cNvPr id="0" name=""/>
        <dsp:cNvSpPr/>
      </dsp:nvSpPr>
      <dsp:spPr>
        <a:xfrm>
          <a:off x="997" y="-28895"/>
          <a:ext cx="2506754" cy="967607"/>
        </a:xfrm>
        <a:prstGeom prst="chevron">
          <a:avLst>
            <a:gd name="adj" fmla="val 40000"/>
          </a:avLst>
        </a:prstGeom>
        <a:solidFill>
          <a:srgbClr val="0080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D54DB9-F020-47F3-8063-DAB6F3BCD528}">
      <dsp:nvSpPr>
        <dsp:cNvPr id="0" name=""/>
        <dsp:cNvSpPr/>
      </dsp:nvSpPr>
      <dsp:spPr>
        <a:xfrm>
          <a:off x="670460" y="28894"/>
          <a:ext cx="2116815" cy="1335830"/>
        </a:xfrm>
        <a:prstGeom prst="roundRect">
          <a:avLst>
            <a:gd name="adj" fmla="val 10000"/>
          </a:avLst>
        </a:prstGeom>
        <a:solidFill>
          <a:schemeClr val="lt1">
            <a:alpha val="90000"/>
            <a:hueOff val="0"/>
            <a:satOff val="0"/>
            <a:lumOff val="0"/>
            <a:alphaOff val="0"/>
          </a:schemeClr>
        </a:solidFill>
        <a:ln w="25400" cap="flat" cmpd="sng" algn="ctr">
          <a:solidFill>
            <a:srgbClr val="008080"/>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l" defTabSz="800100">
            <a:lnSpc>
              <a:spcPct val="90000"/>
            </a:lnSpc>
            <a:spcBef>
              <a:spcPct val="0"/>
            </a:spcBef>
            <a:spcAft>
              <a:spcPct val="35000"/>
            </a:spcAft>
            <a:buNone/>
          </a:pPr>
          <a:r>
            <a:rPr lang="en-US" sz="1800" kern="1200" dirty="0"/>
            <a:t>Low Risk</a:t>
          </a:r>
        </a:p>
        <a:p>
          <a:pPr marL="114300" lvl="1" indent="-114300" algn="l" defTabSz="622300">
            <a:lnSpc>
              <a:spcPct val="90000"/>
            </a:lnSpc>
            <a:spcBef>
              <a:spcPct val="0"/>
            </a:spcBef>
            <a:spcAft>
              <a:spcPct val="15000"/>
            </a:spcAft>
            <a:buChar char="•"/>
          </a:pPr>
          <a:r>
            <a:rPr lang="en-US" sz="1400" kern="1200" dirty="0"/>
            <a:t>General population</a:t>
          </a:r>
        </a:p>
        <a:p>
          <a:pPr marL="114300" lvl="1" indent="-114300" algn="l" defTabSz="622300">
            <a:lnSpc>
              <a:spcPct val="90000"/>
            </a:lnSpc>
            <a:spcBef>
              <a:spcPct val="0"/>
            </a:spcBef>
            <a:spcAft>
              <a:spcPct val="15000"/>
            </a:spcAft>
            <a:buChar char="•"/>
          </a:pPr>
          <a:r>
            <a:rPr lang="en-US" sz="1400" kern="1200" dirty="0"/>
            <a:t>Low STI (10%)</a:t>
          </a:r>
        </a:p>
        <a:p>
          <a:pPr marL="114300" lvl="1" indent="-114300" algn="l" defTabSz="622300">
            <a:lnSpc>
              <a:spcPct val="90000"/>
            </a:lnSpc>
            <a:spcBef>
              <a:spcPct val="0"/>
            </a:spcBef>
            <a:spcAft>
              <a:spcPct val="15000"/>
            </a:spcAft>
            <a:buChar char="•"/>
          </a:pPr>
          <a:r>
            <a:rPr lang="en-US" sz="1400" kern="1200" dirty="0"/>
            <a:t>Low concurrency </a:t>
          </a:r>
        </a:p>
      </dsp:txBody>
      <dsp:txXfrm>
        <a:off x="709585" y="68019"/>
        <a:ext cx="2038565" cy="1257580"/>
      </dsp:txXfrm>
    </dsp:sp>
    <dsp:sp modelId="{802EB083-34C9-48F3-AAC2-B8B0254C0D7B}">
      <dsp:nvSpPr>
        <dsp:cNvPr id="0" name=""/>
        <dsp:cNvSpPr/>
      </dsp:nvSpPr>
      <dsp:spPr>
        <a:xfrm>
          <a:off x="2864268" y="-28895"/>
          <a:ext cx="2506754" cy="967607"/>
        </a:xfrm>
        <a:prstGeom prst="chevron">
          <a:avLst>
            <a:gd name="adj" fmla="val 40000"/>
          </a:avLst>
        </a:prstGeom>
        <a:solidFill>
          <a:srgbClr val="0080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A0160A-316E-44FF-A595-61A516AD0184}">
      <dsp:nvSpPr>
        <dsp:cNvPr id="0" name=""/>
        <dsp:cNvSpPr/>
      </dsp:nvSpPr>
      <dsp:spPr>
        <a:xfrm>
          <a:off x="3533731" y="28894"/>
          <a:ext cx="2116815" cy="1335830"/>
        </a:xfrm>
        <a:prstGeom prst="roundRect">
          <a:avLst>
            <a:gd name="adj" fmla="val 10000"/>
          </a:avLst>
        </a:prstGeom>
        <a:solidFill>
          <a:schemeClr val="lt1">
            <a:alpha val="90000"/>
            <a:hueOff val="0"/>
            <a:satOff val="0"/>
            <a:lumOff val="0"/>
            <a:alphaOff val="0"/>
          </a:schemeClr>
        </a:solidFill>
        <a:ln w="25400" cap="flat" cmpd="sng" algn="ctr">
          <a:solidFill>
            <a:srgbClr val="008080"/>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l" defTabSz="800100">
            <a:lnSpc>
              <a:spcPct val="90000"/>
            </a:lnSpc>
            <a:spcBef>
              <a:spcPct val="0"/>
            </a:spcBef>
            <a:spcAft>
              <a:spcPct val="35000"/>
            </a:spcAft>
            <a:buNone/>
          </a:pPr>
          <a:r>
            <a:rPr lang="en-US" sz="1800" kern="1200" dirty="0"/>
            <a:t>Medium Risk</a:t>
          </a:r>
        </a:p>
        <a:p>
          <a:pPr marL="114300" lvl="1" indent="-114300" algn="l" defTabSz="622300">
            <a:lnSpc>
              <a:spcPct val="90000"/>
            </a:lnSpc>
            <a:spcBef>
              <a:spcPct val="0"/>
            </a:spcBef>
            <a:spcAft>
              <a:spcPct val="15000"/>
            </a:spcAft>
            <a:buChar char="•"/>
          </a:pPr>
          <a:r>
            <a:rPr lang="en-US" sz="1400" kern="1200" dirty="0"/>
            <a:t>General population</a:t>
          </a:r>
        </a:p>
        <a:p>
          <a:pPr marL="114300" lvl="1" indent="-114300" algn="l" defTabSz="622300">
            <a:lnSpc>
              <a:spcPct val="90000"/>
            </a:lnSpc>
            <a:spcBef>
              <a:spcPct val="0"/>
            </a:spcBef>
            <a:spcAft>
              <a:spcPct val="15000"/>
            </a:spcAft>
            <a:buChar char="•"/>
          </a:pPr>
          <a:r>
            <a:rPr lang="en-US" sz="1400" kern="1200" dirty="0"/>
            <a:t>High STI (30%)</a:t>
          </a:r>
        </a:p>
        <a:p>
          <a:pPr marL="114300" lvl="1" indent="-114300" algn="l" defTabSz="622300">
            <a:lnSpc>
              <a:spcPct val="90000"/>
            </a:lnSpc>
            <a:spcBef>
              <a:spcPct val="0"/>
            </a:spcBef>
            <a:spcAft>
              <a:spcPct val="15000"/>
            </a:spcAft>
            <a:buChar char="•"/>
          </a:pPr>
          <a:r>
            <a:rPr lang="en-US" sz="1400" kern="1200" dirty="0"/>
            <a:t>High concurrency</a:t>
          </a:r>
        </a:p>
      </dsp:txBody>
      <dsp:txXfrm>
        <a:off x="3572856" y="68019"/>
        <a:ext cx="2038565" cy="1257580"/>
      </dsp:txXfrm>
    </dsp:sp>
    <dsp:sp modelId="{1CB424A6-55E2-4884-8FF3-8719E8C4D46E}">
      <dsp:nvSpPr>
        <dsp:cNvPr id="0" name=""/>
        <dsp:cNvSpPr/>
      </dsp:nvSpPr>
      <dsp:spPr>
        <a:xfrm>
          <a:off x="5727539" y="-28895"/>
          <a:ext cx="2506754" cy="967607"/>
        </a:xfrm>
        <a:prstGeom prst="chevron">
          <a:avLst>
            <a:gd name="adj" fmla="val 40000"/>
          </a:avLst>
        </a:prstGeom>
        <a:solidFill>
          <a:srgbClr val="00808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C07264-7196-4A7D-B61E-C49397CD88AE}">
      <dsp:nvSpPr>
        <dsp:cNvPr id="0" name=""/>
        <dsp:cNvSpPr/>
      </dsp:nvSpPr>
      <dsp:spPr>
        <a:xfrm>
          <a:off x="6397002" y="28894"/>
          <a:ext cx="2116815" cy="1335830"/>
        </a:xfrm>
        <a:prstGeom prst="roundRect">
          <a:avLst>
            <a:gd name="adj" fmla="val 10000"/>
          </a:avLst>
        </a:prstGeom>
        <a:solidFill>
          <a:schemeClr val="lt1">
            <a:alpha val="90000"/>
            <a:hueOff val="0"/>
            <a:satOff val="0"/>
            <a:lumOff val="0"/>
            <a:alphaOff val="0"/>
          </a:schemeClr>
        </a:solidFill>
        <a:ln w="25400" cap="flat" cmpd="sng" algn="ctr">
          <a:solidFill>
            <a:srgbClr val="008080"/>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l" defTabSz="800100">
            <a:lnSpc>
              <a:spcPct val="90000"/>
            </a:lnSpc>
            <a:spcBef>
              <a:spcPct val="0"/>
            </a:spcBef>
            <a:spcAft>
              <a:spcPct val="35000"/>
            </a:spcAft>
            <a:buNone/>
          </a:pPr>
          <a:r>
            <a:rPr lang="en-US" sz="1800" kern="1200" dirty="0"/>
            <a:t>High Risk</a:t>
          </a:r>
        </a:p>
        <a:p>
          <a:pPr marL="114300" lvl="1" indent="-114300" algn="l" defTabSz="622300">
            <a:lnSpc>
              <a:spcPct val="90000"/>
            </a:lnSpc>
            <a:spcBef>
              <a:spcPct val="0"/>
            </a:spcBef>
            <a:spcAft>
              <a:spcPct val="15000"/>
            </a:spcAft>
            <a:buChar char="•"/>
          </a:pPr>
          <a:r>
            <a:rPr lang="en-US" sz="1400" kern="1200" dirty="0"/>
            <a:t>FSW and male clients</a:t>
          </a:r>
        </a:p>
        <a:p>
          <a:pPr marL="114300" lvl="1" indent="-114300" algn="l" defTabSz="622300">
            <a:lnSpc>
              <a:spcPct val="90000"/>
            </a:lnSpc>
            <a:spcBef>
              <a:spcPct val="0"/>
            </a:spcBef>
            <a:spcAft>
              <a:spcPct val="15000"/>
            </a:spcAft>
            <a:buChar char="•"/>
          </a:pPr>
          <a:r>
            <a:rPr lang="en-US" sz="1400" kern="1200" dirty="0"/>
            <a:t>High STI (30%)</a:t>
          </a:r>
        </a:p>
        <a:p>
          <a:pPr marL="114300" lvl="1" indent="-114300" algn="l" defTabSz="622300">
            <a:lnSpc>
              <a:spcPct val="90000"/>
            </a:lnSpc>
            <a:spcBef>
              <a:spcPct val="0"/>
            </a:spcBef>
            <a:spcAft>
              <a:spcPct val="15000"/>
            </a:spcAft>
            <a:buChar char="•"/>
          </a:pPr>
          <a:r>
            <a:rPr lang="en-US" sz="1400" kern="1200" dirty="0"/>
            <a:t>Universal concurrency</a:t>
          </a:r>
        </a:p>
      </dsp:txBody>
      <dsp:txXfrm>
        <a:off x="6436127" y="68019"/>
        <a:ext cx="2038565" cy="1257580"/>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59D869-83F6-49BA-A003-0FE01D28D110}" type="datetimeFigureOut">
              <a:rPr lang="en-US" smtClean="0"/>
              <a:t>4/16/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63DB93-7071-44A3-AC7D-052F57AD4B0C}" type="slidenum">
              <a:rPr lang="en-US" smtClean="0"/>
              <a:t>‹#›</a:t>
            </a:fld>
            <a:endParaRPr lang="en-US"/>
          </a:p>
        </p:txBody>
      </p:sp>
    </p:spTree>
    <p:extLst>
      <p:ext uri="{BB962C8B-B14F-4D97-AF65-F5344CB8AC3E}">
        <p14:creationId xmlns:p14="http://schemas.microsoft.com/office/powerpoint/2010/main" val="17309491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icrobicide Product Introduction Initiative (MPii) includes five cooperative agreements within the Annual Program Statement for Microbicide Research, Development, and Introduction. These five-year awards continue and expand USAID's support, in partnership with PEPFAR, for microbicide introduction and access with advances in biomedical technologies and new approaches for HIV prevention.</a:t>
            </a:r>
          </a:p>
          <a:p>
            <a:endParaRPr lang="en-US" dirty="0"/>
          </a:p>
        </p:txBody>
      </p:sp>
    </p:spTree>
    <p:extLst>
      <p:ext uri="{BB962C8B-B14F-4D97-AF65-F5344CB8AC3E}">
        <p14:creationId xmlns:p14="http://schemas.microsoft.com/office/powerpoint/2010/main" val="8824670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63DB93-7071-44A3-AC7D-052F57AD4B0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166740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63DB93-7071-44A3-AC7D-052F57AD4B0C}" type="slidenum">
              <a:rPr lang="en-US" smtClean="0"/>
              <a:pPr/>
              <a:t>17</a:t>
            </a:fld>
            <a:endParaRPr lang="en-US"/>
          </a:p>
        </p:txBody>
      </p:sp>
    </p:spTree>
    <p:extLst>
      <p:ext uri="{BB962C8B-B14F-4D97-AF65-F5344CB8AC3E}">
        <p14:creationId xmlns:p14="http://schemas.microsoft.com/office/powerpoint/2010/main" val="714079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fits are based on DHS 2006 and 2011 data only</a:t>
            </a:r>
          </a:p>
        </p:txBody>
      </p:sp>
      <p:sp>
        <p:nvSpPr>
          <p:cNvPr id="4" name="Slide Number Placeholder 3"/>
          <p:cNvSpPr>
            <a:spLocks noGrp="1"/>
          </p:cNvSpPr>
          <p:nvPr>
            <p:ph type="sldNum" sz="quarter" idx="10"/>
          </p:nvPr>
        </p:nvSpPr>
        <p:spPr/>
        <p:txBody>
          <a:bodyPr/>
          <a:lstStyle/>
          <a:p>
            <a:fld id="{4B63DB93-7071-44A3-AC7D-052F57AD4B0C}" type="slidenum">
              <a:rPr lang="en-US" smtClean="0"/>
              <a:t>18</a:t>
            </a:fld>
            <a:endParaRPr lang="en-US"/>
          </a:p>
        </p:txBody>
      </p:sp>
    </p:spTree>
    <p:extLst>
      <p:ext uri="{BB962C8B-B14F-4D97-AF65-F5344CB8AC3E}">
        <p14:creationId xmlns:p14="http://schemas.microsoft.com/office/powerpoint/2010/main" val="13421794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63DB93-7071-44A3-AC7D-052F57AD4B0C}" type="slidenum">
              <a:rPr lang="en-US" smtClean="0"/>
              <a:t>20</a:t>
            </a:fld>
            <a:endParaRPr lang="en-US"/>
          </a:p>
        </p:txBody>
      </p:sp>
    </p:spTree>
    <p:extLst>
      <p:ext uri="{BB962C8B-B14F-4D97-AF65-F5344CB8AC3E}">
        <p14:creationId xmlns:p14="http://schemas.microsoft.com/office/powerpoint/2010/main" val="1821818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6893E672-EFEC-514E-A9C0-F3EC3A35DE06}" type="slidenum">
              <a:rPr lang="en-US" smtClean="0"/>
              <a:t>25</a:t>
            </a:fld>
            <a:endParaRPr lang="en-US"/>
          </a:p>
        </p:txBody>
      </p:sp>
    </p:spTree>
    <p:extLst>
      <p:ext uri="{BB962C8B-B14F-4D97-AF65-F5344CB8AC3E}">
        <p14:creationId xmlns:p14="http://schemas.microsoft.com/office/powerpoint/2010/main" val="24700110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links only work in slideshow mode</a:t>
            </a:r>
          </a:p>
        </p:txBody>
      </p:sp>
    </p:spTree>
    <p:extLst>
      <p:ext uri="{BB962C8B-B14F-4D97-AF65-F5344CB8AC3E}">
        <p14:creationId xmlns:p14="http://schemas.microsoft.com/office/powerpoint/2010/main" val="4275825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715173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63DB93-7071-44A3-AC7D-052F57AD4B0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21366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63DB93-7071-44A3-AC7D-052F57AD4B0C}" type="slidenum">
              <a:rPr lang="en-US" smtClean="0"/>
              <a:t>5</a:t>
            </a:fld>
            <a:endParaRPr lang="en-US"/>
          </a:p>
        </p:txBody>
      </p:sp>
    </p:spTree>
    <p:extLst>
      <p:ext uri="{BB962C8B-B14F-4D97-AF65-F5344CB8AC3E}">
        <p14:creationId xmlns:p14="http://schemas.microsoft.com/office/powerpoint/2010/main" val="12633846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63DB93-7071-44A3-AC7D-052F57AD4B0C}" type="slidenum">
              <a:rPr lang="en-US" smtClean="0"/>
              <a:t>6</a:t>
            </a:fld>
            <a:endParaRPr lang="en-US"/>
          </a:p>
        </p:txBody>
      </p:sp>
    </p:spTree>
    <p:extLst>
      <p:ext uri="{BB962C8B-B14F-4D97-AF65-F5344CB8AC3E}">
        <p14:creationId xmlns:p14="http://schemas.microsoft.com/office/powerpoint/2010/main" val="3293781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63DB93-7071-44A3-AC7D-052F57AD4B0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66537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63DB93-7071-44A3-AC7D-052F57AD4B0C}" type="slidenum">
              <a:rPr lang="en-US" smtClean="0"/>
              <a:t>12</a:t>
            </a:fld>
            <a:endParaRPr lang="en-US"/>
          </a:p>
        </p:txBody>
      </p:sp>
    </p:spTree>
    <p:extLst>
      <p:ext uri="{BB962C8B-B14F-4D97-AF65-F5344CB8AC3E}">
        <p14:creationId xmlns:p14="http://schemas.microsoft.com/office/powerpoint/2010/main" val="429369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dirty="0"/>
              <a:t>EMOD-HIV</a:t>
            </a:r>
            <a:r>
              <a:rPr lang="en-US" baseline="0" dirty="0"/>
              <a:t> is an individual-based network model of HIV transmission.  The model represents 1 in 50 people in Kenya, including their birthday, gender, infection, partners, and interventions.  Relationships are formed between individuals of similar age, risk, and geographical location.  Transmission is the result of modeling individual coital acts, condoms, and co-factors like STI co-infection.</a:t>
            </a:r>
          </a:p>
          <a:p>
            <a:endParaRPr lang="en-US" baseline="0" dirty="0"/>
          </a:p>
          <a:p>
            <a:r>
              <a:rPr lang="en-US" baseline="0" dirty="0"/>
              <a:t>Within each infected host, the model simulates their CD4 count, disease stage, WHO stage, weight, and progression towards AIDS.  CD4 reconstitutes while on ART.</a:t>
            </a:r>
          </a:p>
          <a:p>
            <a:endParaRPr lang="en-US" baseline="0" dirty="0"/>
          </a:p>
          <a:p>
            <a:r>
              <a:rPr lang="en-US" baseline="0" dirty="0"/>
              <a:t>The treatment cascade is fully configurable without needing to edit any model source code.  Users can specify treatment and prevention cascades.</a:t>
            </a:r>
          </a:p>
          <a:p>
            <a:endParaRPr lang="en-US" baseline="0" dirty="0"/>
          </a:p>
          <a:p>
            <a:r>
              <a:rPr lang="en-US" baseline="0" dirty="0"/>
              <a:t>Another feature the model supports is geography.  We hope to eventually connect the counties via migration.</a:t>
            </a:r>
          </a:p>
          <a:p>
            <a:endParaRPr lang="en-US" baseline="0" dirty="0"/>
          </a:p>
          <a:p>
            <a:r>
              <a:rPr lang="en-US" baseline="0" dirty="0"/>
              <a:t>Model fitting uses curve fitting algorithms that aim to maximize likelihood.</a:t>
            </a:r>
          </a:p>
          <a:p>
            <a:endParaRPr lang="en-US" baseline="0" dirty="0"/>
          </a:p>
          <a:p>
            <a:r>
              <a:rPr lang="en-US" baseline="0" dirty="0"/>
              <a:t>Importantly, the model source code, documentation, and tutorials are available online at our website and on GitHub.</a:t>
            </a:r>
            <a:endParaRPr lang="en-US" dirty="0"/>
          </a:p>
        </p:txBody>
      </p:sp>
      <p:sp>
        <p:nvSpPr>
          <p:cNvPr id="4" name="Slide Number Placeholder 3"/>
          <p:cNvSpPr>
            <a:spLocks noGrp="1"/>
          </p:cNvSpPr>
          <p:nvPr>
            <p:ph type="sldNum" sz="quarter" idx="10"/>
          </p:nvPr>
        </p:nvSpPr>
        <p:spPr/>
        <p:txBody>
          <a:bodyPr/>
          <a:lstStyle/>
          <a:p>
            <a:fld id="{4B63DB93-7071-44A3-AC7D-052F57AD4B0C}" type="slidenum">
              <a:rPr lang="en-US" smtClean="0"/>
              <a:pPr/>
              <a:t>13</a:t>
            </a:fld>
            <a:endParaRPr lang="en-US"/>
          </a:p>
        </p:txBody>
      </p:sp>
    </p:spTree>
    <p:extLst>
      <p:ext uri="{BB962C8B-B14F-4D97-AF65-F5344CB8AC3E}">
        <p14:creationId xmlns:p14="http://schemas.microsoft.com/office/powerpoint/2010/main" val="13471853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dirty="0"/>
              <a:t>AGYW are defined as women ages 15 to 24</a:t>
            </a:r>
          </a:p>
        </p:txBody>
      </p:sp>
      <p:sp>
        <p:nvSpPr>
          <p:cNvPr id="4" name="Slide Number Placeholder 3"/>
          <p:cNvSpPr>
            <a:spLocks noGrp="1"/>
          </p:cNvSpPr>
          <p:nvPr>
            <p:ph type="sldNum" sz="quarter" idx="10"/>
          </p:nvPr>
        </p:nvSpPr>
        <p:spPr/>
        <p:txBody>
          <a:bodyPr/>
          <a:lstStyle/>
          <a:p>
            <a:fld id="{4B63DB93-7071-44A3-AC7D-052F57AD4B0C}" type="slidenum">
              <a:rPr lang="en-US" smtClean="0"/>
              <a:t>15</a:t>
            </a:fld>
            <a:endParaRPr lang="en-US"/>
          </a:p>
        </p:txBody>
      </p:sp>
    </p:spTree>
    <p:extLst>
      <p:ext uri="{BB962C8B-B14F-4D97-AF65-F5344CB8AC3E}">
        <p14:creationId xmlns:p14="http://schemas.microsoft.com/office/powerpoint/2010/main" val="162121762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hdphoto" Target="../media/hdphoto1.wdp"/><Relationship Id="rId7"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jpg"/><Relationship Id="rId5" Type="http://schemas.openxmlformats.org/officeDocument/2006/relationships/image" Target="../media/image3.jpe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Rectangle 8"/>
          <p:cNvSpPr/>
          <p:nvPr userDrawn="1"/>
        </p:nvSpPr>
        <p:spPr>
          <a:xfrm>
            <a:off x="0" y="0"/>
            <a:ext cx="9144000" cy="5925312"/>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3" name="Picture 2"/>
          <p:cNvPicPr>
            <a:picLocks noChangeAspect="1"/>
          </p:cNvPicPr>
          <p:nvPr userDrawn="1"/>
        </p:nvPicPr>
        <p:blipFill rotWithShape="1">
          <a:blip r:embed="rId2">
            <a:lum bright="70000" contrast="-70000"/>
            <a:extLst>
              <a:ext uri="{BEBA8EAE-BF5A-486C-A8C5-ECC9F3942E4B}">
                <a14:imgProps xmlns:a14="http://schemas.microsoft.com/office/drawing/2010/main">
                  <a14:imgLayer r:embed="rId3">
                    <a14:imgEffect>
                      <a14:brightnessContrast bright="-40000" contrast="-40000"/>
                    </a14:imgEffect>
                  </a14:imgLayer>
                </a14:imgProps>
              </a:ext>
            </a:extLst>
          </a:blip>
          <a:srcRect l="21798" t="21642" r="20674"/>
          <a:stretch/>
        </p:blipFill>
        <p:spPr>
          <a:xfrm>
            <a:off x="-1722040" y="1700681"/>
            <a:ext cx="4501662" cy="6166578"/>
          </a:xfrm>
          <a:prstGeom prst="rect">
            <a:avLst/>
          </a:prstGeom>
        </p:spPr>
      </p:pic>
      <p:sp>
        <p:nvSpPr>
          <p:cNvPr id="11" name="TextBox 10">
            <a:extLst>
              <a:ext uri="{FF2B5EF4-FFF2-40B4-BE49-F238E27FC236}">
                <a16:creationId xmlns:a16="http://schemas.microsoft.com/office/drawing/2014/main" id="{6E7B58DA-09AC-40CC-8048-0CC53376C03E}"/>
              </a:ext>
            </a:extLst>
          </p:cNvPr>
          <p:cNvSpPr txBox="1"/>
          <p:nvPr userDrawn="1"/>
        </p:nvSpPr>
        <p:spPr>
          <a:xfrm>
            <a:off x="8053154" y="6654664"/>
            <a:ext cx="895071" cy="215444"/>
          </a:xfrm>
          <a:prstGeom prst="rect">
            <a:avLst/>
          </a:prstGeom>
          <a:noFill/>
        </p:spPr>
        <p:txBody>
          <a:bodyPr wrap="square" rtlCol="0">
            <a:spAutoFit/>
          </a:bodyPr>
          <a:lstStyle/>
          <a:p>
            <a:pPr algn="r"/>
            <a:fld id="{866A5236-44AD-2042-BEB4-E68B6DAEE093}" type="slidenum">
              <a:rPr lang="en-US" sz="800" smtClean="0">
                <a:solidFill>
                  <a:schemeClr val="bg1"/>
                </a:solidFill>
              </a:rPr>
              <a:pPr algn="r"/>
              <a:t>‹#›</a:t>
            </a:fld>
            <a:endParaRPr lang="en-US" sz="800" dirty="0">
              <a:solidFill>
                <a:schemeClr val="bg1"/>
              </a:solidFill>
            </a:endParaRPr>
          </a:p>
        </p:txBody>
      </p:sp>
      <p:sp>
        <p:nvSpPr>
          <p:cNvPr id="12" name="Rectangle 11">
            <a:extLst>
              <a:ext uri="{FF2B5EF4-FFF2-40B4-BE49-F238E27FC236}">
                <a16:creationId xmlns:a16="http://schemas.microsoft.com/office/drawing/2014/main" id="{50F714FA-676E-43D3-B375-D37473EAA077}"/>
              </a:ext>
            </a:extLst>
          </p:cNvPr>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13" name="Picture 12">
            <a:extLst>
              <a:ext uri="{FF2B5EF4-FFF2-40B4-BE49-F238E27FC236}">
                <a16:creationId xmlns:a16="http://schemas.microsoft.com/office/drawing/2014/main" id="{307E082C-8CCC-466B-A1FA-98FC3B055EE2}"/>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65295" y="5976837"/>
            <a:ext cx="1734763" cy="714467"/>
          </a:xfrm>
          <a:prstGeom prst="rect">
            <a:avLst/>
          </a:prstGeom>
        </p:spPr>
      </p:pic>
      <p:pic>
        <p:nvPicPr>
          <p:cNvPr id="14" name="Picture 13" descr="OPTIONS-Logo_CMYK.jpg">
            <a:extLst>
              <a:ext uri="{FF2B5EF4-FFF2-40B4-BE49-F238E27FC236}">
                <a16:creationId xmlns:a16="http://schemas.microsoft.com/office/drawing/2014/main" id="{15459673-B22F-4838-8213-87E2DA2AF20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249668" y="5993951"/>
            <a:ext cx="1261725" cy="679033"/>
          </a:xfrm>
          <a:prstGeom prst="rect">
            <a:avLst/>
          </a:prstGeom>
        </p:spPr>
      </p:pic>
      <p:pic>
        <p:nvPicPr>
          <p:cNvPr id="15" name="Picture 14">
            <a:extLst>
              <a:ext uri="{FF2B5EF4-FFF2-40B4-BE49-F238E27FC236}">
                <a16:creationId xmlns:a16="http://schemas.microsoft.com/office/drawing/2014/main" id="{9497768A-CACC-4508-9365-B55154C60F5B}"/>
              </a:ext>
            </a:extLst>
          </p:cNvPr>
          <p:cNvPicPr>
            <a:picLocks noChangeAspect="1"/>
          </p:cNvPicPr>
          <p:nvPr userDrawn="1"/>
        </p:nvPicPr>
        <p:blipFill>
          <a:blip r:embed="rId6"/>
          <a:stretch>
            <a:fillRect/>
          </a:stretch>
        </p:blipFill>
        <p:spPr>
          <a:xfrm>
            <a:off x="1475708" y="6021475"/>
            <a:ext cx="825949" cy="569465"/>
          </a:xfrm>
          <a:prstGeom prst="rect">
            <a:avLst/>
          </a:prstGeom>
        </p:spPr>
      </p:pic>
      <p:pic>
        <p:nvPicPr>
          <p:cNvPr id="16" name="Picture 15">
            <a:extLst>
              <a:ext uri="{FF2B5EF4-FFF2-40B4-BE49-F238E27FC236}">
                <a16:creationId xmlns:a16="http://schemas.microsoft.com/office/drawing/2014/main" id="{3C680D81-F2E7-4F1D-A961-6CF308AD199F}"/>
              </a:ext>
            </a:extLst>
          </p:cNvPr>
          <p:cNvPicPr>
            <a:picLocks noChangeAspect="1"/>
          </p:cNvPicPr>
          <p:nvPr userDrawn="1"/>
        </p:nvPicPr>
        <p:blipFill>
          <a:blip r:embed="rId7"/>
          <a:stretch>
            <a:fillRect/>
          </a:stretch>
        </p:blipFill>
        <p:spPr>
          <a:xfrm>
            <a:off x="3574189" y="5952800"/>
            <a:ext cx="847417" cy="670618"/>
          </a:xfrm>
          <a:prstGeom prst="rect">
            <a:avLst/>
          </a:prstGeom>
        </p:spPr>
      </p:pic>
      <p:pic>
        <p:nvPicPr>
          <p:cNvPr id="17" name="Picture 16">
            <a:extLst>
              <a:ext uri="{FF2B5EF4-FFF2-40B4-BE49-F238E27FC236}">
                <a16:creationId xmlns:a16="http://schemas.microsoft.com/office/drawing/2014/main" id="{95EC64A8-9083-4D9E-9F6E-324F7F9E42C9}"/>
              </a:ext>
            </a:extLst>
          </p:cNvPr>
          <p:cNvPicPr>
            <a:picLocks noChangeAspect="1"/>
          </p:cNvPicPr>
          <p:nvPr userDrawn="1"/>
        </p:nvPicPr>
        <p:blipFill>
          <a:blip r:embed="rId8"/>
          <a:stretch>
            <a:fillRect/>
          </a:stretch>
        </p:blipFill>
        <p:spPr>
          <a:xfrm>
            <a:off x="7425131" y="5976837"/>
            <a:ext cx="1637643" cy="670618"/>
          </a:xfrm>
          <a:prstGeom prst="rect">
            <a:avLst/>
          </a:prstGeom>
        </p:spPr>
      </p:pic>
      <p:pic>
        <p:nvPicPr>
          <p:cNvPr id="18" name="Picture 17">
            <a:extLst>
              <a:ext uri="{FF2B5EF4-FFF2-40B4-BE49-F238E27FC236}">
                <a16:creationId xmlns:a16="http://schemas.microsoft.com/office/drawing/2014/main" id="{2298A5B6-66BF-46BB-A81F-D9C08B3F2436}"/>
              </a:ext>
            </a:extLst>
          </p:cNvPr>
          <p:cNvPicPr>
            <a:picLocks noChangeAspect="1"/>
          </p:cNvPicPr>
          <p:nvPr userDrawn="1"/>
        </p:nvPicPr>
        <p:blipFill>
          <a:blip r:embed="rId9"/>
          <a:stretch>
            <a:fillRect/>
          </a:stretch>
        </p:blipFill>
        <p:spPr>
          <a:xfrm>
            <a:off x="4493277" y="6092486"/>
            <a:ext cx="1870255" cy="523348"/>
          </a:xfrm>
          <a:prstGeom prst="rect">
            <a:avLst/>
          </a:prstGeom>
        </p:spPr>
      </p:pic>
      <p:pic>
        <p:nvPicPr>
          <p:cNvPr id="19" name="Picture 18">
            <a:extLst>
              <a:ext uri="{FF2B5EF4-FFF2-40B4-BE49-F238E27FC236}">
                <a16:creationId xmlns:a16="http://schemas.microsoft.com/office/drawing/2014/main" id="{634EB622-0BB5-420D-9CC5-A8CF934D6A09}"/>
              </a:ext>
            </a:extLst>
          </p:cNvPr>
          <p:cNvPicPr>
            <a:picLocks noChangeAspect="1"/>
          </p:cNvPicPr>
          <p:nvPr userDrawn="1"/>
        </p:nvPicPr>
        <p:blipFill>
          <a:blip r:embed="rId10"/>
          <a:stretch>
            <a:fillRect/>
          </a:stretch>
        </p:blipFill>
        <p:spPr>
          <a:xfrm>
            <a:off x="6479107" y="6071793"/>
            <a:ext cx="830449" cy="523348"/>
          </a:xfrm>
          <a:prstGeom prst="rect">
            <a:avLst/>
          </a:prstGeom>
        </p:spPr>
      </p:pic>
    </p:spTree>
    <p:extLst>
      <p:ext uri="{BB962C8B-B14F-4D97-AF65-F5344CB8AC3E}">
        <p14:creationId xmlns:p14="http://schemas.microsoft.com/office/powerpoint/2010/main" val="2768613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5" name="TextBox 24"/>
          <p:cNvSpPr txBox="1"/>
          <p:nvPr userDrawn="1"/>
        </p:nvSpPr>
        <p:spPr>
          <a:xfrm>
            <a:off x="8053154" y="6654664"/>
            <a:ext cx="895071" cy="215444"/>
          </a:xfrm>
          <a:prstGeom prst="rect">
            <a:avLst/>
          </a:prstGeom>
          <a:noFill/>
        </p:spPr>
        <p:txBody>
          <a:bodyPr wrap="square" rtlCol="0">
            <a:spAutoFit/>
          </a:bodyPr>
          <a:lstStyle/>
          <a:p>
            <a:pPr algn="r"/>
            <a:fld id="{866A5236-44AD-2042-BEB4-E68B6DAEE093}" type="slidenum">
              <a:rPr lang="en-US" sz="800" smtClean="0">
                <a:solidFill>
                  <a:schemeClr val="bg1"/>
                </a:solidFill>
              </a:rPr>
              <a:pPr algn="r"/>
              <a:t>‹#›</a:t>
            </a:fld>
            <a:endParaRPr lang="en-US" sz="800" dirty="0">
              <a:solidFill>
                <a:schemeClr val="bg1"/>
              </a:solidFill>
            </a:endParaRPr>
          </a:p>
        </p:txBody>
      </p:sp>
      <p:sp>
        <p:nvSpPr>
          <p:cNvPr id="2" name="Title 1"/>
          <p:cNvSpPr>
            <a:spLocks noGrp="1"/>
          </p:cNvSpPr>
          <p:nvPr>
            <p:ph type="title" hasCustomPrompt="1"/>
          </p:nvPr>
        </p:nvSpPr>
        <p:spPr>
          <a:xfrm>
            <a:off x="1433146" y="445196"/>
            <a:ext cx="7253654" cy="972441"/>
          </a:xfrm>
          <a:prstGeom prst="rect">
            <a:avLst/>
          </a:prstGeom>
        </p:spPr>
        <p:txBody>
          <a:bodyPr vert="horz"/>
          <a:lstStyle>
            <a:lvl1pPr>
              <a:defRPr sz="4000">
                <a:solidFill>
                  <a:srgbClr val="178793"/>
                </a:solidFill>
                <a:latin typeface="Gill Sans MT" panose="020B0502020104020203" pitchFamily="34" charset="0"/>
              </a:defRPr>
            </a:lvl1pPr>
          </a:lstStyle>
          <a:p>
            <a:r>
              <a:rPr lang="en-US" dirty="0"/>
              <a:t>Title</a:t>
            </a:r>
          </a:p>
        </p:txBody>
      </p:sp>
      <p:sp>
        <p:nvSpPr>
          <p:cNvPr id="4" name="Text Placeholder 3"/>
          <p:cNvSpPr>
            <a:spLocks noGrp="1"/>
          </p:cNvSpPr>
          <p:nvPr>
            <p:ph type="body" sz="quarter" idx="10"/>
          </p:nvPr>
        </p:nvSpPr>
        <p:spPr>
          <a:xfrm>
            <a:off x="457200" y="1584325"/>
            <a:ext cx="8229600" cy="4360366"/>
          </a:xfrm>
          <a:prstGeom prst="rect">
            <a:avLst/>
          </a:prstGeom>
        </p:spPr>
        <p:txBody>
          <a:bodyPr vert="horz"/>
          <a:lstStyle>
            <a:lvl1pPr>
              <a:buClr>
                <a:srgbClr val="178793"/>
              </a:buClr>
              <a:buSzPct val="100000"/>
              <a:buFont typeface="Arial"/>
              <a:buChar char="•"/>
              <a:defRPr sz="2000" b="0" spc="0">
                <a:solidFill>
                  <a:srgbClr val="535352"/>
                </a:solidFill>
                <a:latin typeface="Gill Sans MT" panose="020B0502020104020203" pitchFamily="34" charset="0"/>
                <a:cs typeface="Gill Sans MT" panose="020B0502020104020203" pitchFamily="34" charset="0"/>
              </a:defRPr>
            </a:lvl1pPr>
            <a:lvl2pPr>
              <a:buClr>
                <a:srgbClr val="178793"/>
              </a:buClr>
              <a:defRPr sz="1800">
                <a:solidFill>
                  <a:srgbClr val="535352"/>
                </a:solidFill>
                <a:latin typeface="Gill Sans MT" panose="020B0502020104020203" pitchFamily="34" charset="0"/>
                <a:cs typeface="Gill Sans MT" panose="020B0502020104020203" pitchFamily="34" charset="0"/>
              </a:defRPr>
            </a:lvl2pPr>
            <a:lvl3pPr marL="1143000" indent="-228600">
              <a:buClr>
                <a:srgbClr val="178793"/>
              </a:buClr>
              <a:buSzPct val="83000"/>
              <a:buFont typeface="Courier New"/>
              <a:buChar char="o"/>
              <a:defRPr sz="1600">
                <a:solidFill>
                  <a:srgbClr val="535352"/>
                </a:solidFill>
                <a:latin typeface="Gill Sans MT" panose="020B0502020104020203" pitchFamily="34" charset="0"/>
                <a:cs typeface="Gill Sans MT" panose="020B0502020104020203" pitchFamily="34" charset="0"/>
              </a:defRPr>
            </a:lvl3pPr>
            <a:lvl4pPr>
              <a:defRPr>
                <a:solidFill>
                  <a:srgbClr val="535352"/>
                </a:solidFill>
                <a:latin typeface="Calibri"/>
                <a:cs typeface="Calibri"/>
              </a:defRPr>
            </a:lvl4pPr>
            <a:lvl5pPr>
              <a:defRPr>
                <a:solidFill>
                  <a:srgbClr val="535352"/>
                </a:solidFill>
                <a:latin typeface="Calibri"/>
                <a:cs typeface="Calibri"/>
              </a:defRPr>
            </a:lvl5pPr>
          </a:lstStyle>
          <a:p>
            <a:pPr lvl="0"/>
            <a:r>
              <a:rPr lang="en-US" dirty="0"/>
              <a:t>Click to edit Master text styles</a:t>
            </a:r>
          </a:p>
          <a:p>
            <a:pPr lvl="1"/>
            <a:r>
              <a:rPr lang="en-US" dirty="0"/>
              <a:t>Second level</a:t>
            </a:r>
          </a:p>
          <a:p>
            <a:pPr lvl="2"/>
            <a:r>
              <a:rPr lang="en-US" dirty="0"/>
              <a:t>Third level</a:t>
            </a:r>
          </a:p>
        </p:txBody>
      </p:sp>
      <p:sp>
        <p:nvSpPr>
          <p:cNvPr id="7" name="Rectangle 6"/>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3447171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5" name="TextBox 24"/>
          <p:cNvSpPr txBox="1"/>
          <p:nvPr userDrawn="1"/>
        </p:nvSpPr>
        <p:spPr>
          <a:xfrm>
            <a:off x="8053154" y="6654664"/>
            <a:ext cx="895071" cy="215444"/>
          </a:xfrm>
          <a:prstGeom prst="rect">
            <a:avLst/>
          </a:prstGeom>
          <a:noFill/>
        </p:spPr>
        <p:txBody>
          <a:bodyPr wrap="square" rtlCol="0">
            <a:spAutoFit/>
          </a:bodyPr>
          <a:lstStyle/>
          <a:p>
            <a:pPr algn="r"/>
            <a:fld id="{866A5236-44AD-2042-BEB4-E68B6DAEE093}" type="slidenum">
              <a:rPr lang="en-US" sz="800" smtClean="0">
                <a:solidFill>
                  <a:schemeClr val="bg1"/>
                </a:solidFill>
              </a:rPr>
              <a:pPr algn="r"/>
              <a:t>‹#›</a:t>
            </a:fld>
            <a:endParaRPr lang="en-US" sz="800" dirty="0">
              <a:solidFill>
                <a:schemeClr val="bg1"/>
              </a:solidFill>
            </a:endParaRPr>
          </a:p>
        </p:txBody>
      </p:sp>
      <p:sp>
        <p:nvSpPr>
          <p:cNvPr id="7" name="Rectangle 6"/>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65295" y="5976837"/>
            <a:ext cx="1734763" cy="714467"/>
          </a:xfrm>
          <a:prstGeom prst="rect">
            <a:avLst/>
          </a:prstGeom>
        </p:spPr>
      </p:pic>
      <p:pic>
        <p:nvPicPr>
          <p:cNvPr id="15" name="Picture 14" descr="OPTIONS-Logo_CMYK.jp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49668" y="5993951"/>
            <a:ext cx="1261725" cy="679033"/>
          </a:xfrm>
          <a:prstGeom prst="rect">
            <a:avLst/>
          </a:prstGeom>
        </p:spPr>
      </p:pic>
      <p:pic>
        <p:nvPicPr>
          <p:cNvPr id="16" name="Picture 15"/>
          <p:cNvPicPr>
            <a:picLocks noChangeAspect="1"/>
          </p:cNvPicPr>
          <p:nvPr userDrawn="1"/>
        </p:nvPicPr>
        <p:blipFill>
          <a:blip r:embed="rId4"/>
          <a:stretch>
            <a:fillRect/>
          </a:stretch>
        </p:blipFill>
        <p:spPr>
          <a:xfrm>
            <a:off x="1475708" y="6021475"/>
            <a:ext cx="825949" cy="569465"/>
          </a:xfrm>
          <a:prstGeom prst="rect">
            <a:avLst/>
          </a:prstGeom>
        </p:spPr>
      </p:pic>
      <p:pic>
        <p:nvPicPr>
          <p:cNvPr id="2" name="Picture 1">
            <a:extLst>
              <a:ext uri="{FF2B5EF4-FFF2-40B4-BE49-F238E27FC236}">
                <a16:creationId xmlns:a16="http://schemas.microsoft.com/office/drawing/2014/main" id="{DA7AC4BA-D2C6-449A-BF2F-137C8370205F}"/>
              </a:ext>
            </a:extLst>
          </p:cNvPr>
          <p:cNvPicPr>
            <a:picLocks noChangeAspect="1"/>
          </p:cNvPicPr>
          <p:nvPr userDrawn="1"/>
        </p:nvPicPr>
        <p:blipFill>
          <a:blip r:embed="rId5"/>
          <a:stretch>
            <a:fillRect/>
          </a:stretch>
        </p:blipFill>
        <p:spPr>
          <a:xfrm>
            <a:off x="3574189" y="5952800"/>
            <a:ext cx="847417" cy="670618"/>
          </a:xfrm>
          <a:prstGeom prst="rect">
            <a:avLst/>
          </a:prstGeom>
        </p:spPr>
      </p:pic>
      <p:pic>
        <p:nvPicPr>
          <p:cNvPr id="3" name="Picture 2">
            <a:extLst>
              <a:ext uri="{FF2B5EF4-FFF2-40B4-BE49-F238E27FC236}">
                <a16:creationId xmlns:a16="http://schemas.microsoft.com/office/drawing/2014/main" id="{D63D0710-CA1A-476C-B8B5-F762169E898C}"/>
              </a:ext>
            </a:extLst>
          </p:cNvPr>
          <p:cNvPicPr>
            <a:picLocks noChangeAspect="1"/>
          </p:cNvPicPr>
          <p:nvPr userDrawn="1"/>
        </p:nvPicPr>
        <p:blipFill>
          <a:blip r:embed="rId6"/>
          <a:stretch>
            <a:fillRect/>
          </a:stretch>
        </p:blipFill>
        <p:spPr>
          <a:xfrm>
            <a:off x="7425131" y="5976837"/>
            <a:ext cx="1637643" cy="670618"/>
          </a:xfrm>
          <a:prstGeom prst="rect">
            <a:avLst/>
          </a:prstGeom>
        </p:spPr>
      </p:pic>
      <p:pic>
        <p:nvPicPr>
          <p:cNvPr id="4" name="Picture 3">
            <a:extLst>
              <a:ext uri="{FF2B5EF4-FFF2-40B4-BE49-F238E27FC236}">
                <a16:creationId xmlns:a16="http://schemas.microsoft.com/office/drawing/2014/main" id="{C2FBBB49-AA5B-4695-8CCF-6E02CC7EB428}"/>
              </a:ext>
            </a:extLst>
          </p:cNvPr>
          <p:cNvPicPr>
            <a:picLocks noChangeAspect="1"/>
          </p:cNvPicPr>
          <p:nvPr userDrawn="1"/>
        </p:nvPicPr>
        <p:blipFill>
          <a:blip r:embed="rId7"/>
          <a:stretch>
            <a:fillRect/>
          </a:stretch>
        </p:blipFill>
        <p:spPr>
          <a:xfrm>
            <a:off x="4493277" y="6092486"/>
            <a:ext cx="1870255" cy="523348"/>
          </a:xfrm>
          <a:prstGeom prst="rect">
            <a:avLst/>
          </a:prstGeom>
        </p:spPr>
      </p:pic>
      <p:pic>
        <p:nvPicPr>
          <p:cNvPr id="5" name="Picture 4">
            <a:extLst>
              <a:ext uri="{FF2B5EF4-FFF2-40B4-BE49-F238E27FC236}">
                <a16:creationId xmlns:a16="http://schemas.microsoft.com/office/drawing/2014/main" id="{5A06C98B-2386-4D9D-A4CA-C0C13701E410}"/>
              </a:ext>
            </a:extLst>
          </p:cNvPr>
          <p:cNvPicPr>
            <a:picLocks noChangeAspect="1"/>
          </p:cNvPicPr>
          <p:nvPr userDrawn="1"/>
        </p:nvPicPr>
        <p:blipFill>
          <a:blip r:embed="rId8"/>
          <a:stretch>
            <a:fillRect/>
          </a:stretch>
        </p:blipFill>
        <p:spPr>
          <a:xfrm>
            <a:off x="6479107" y="6071793"/>
            <a:ext cx="830449" cy="523348"/>
          </a:xfrm>
          <a:prstGeom prst="rect">
            <a:avLst/>
          </a:prstGeom>
        </p:spPr>
      </p:pic>
    </p:spTree>
    <p:extLst>
      <p:ext uri="{BB962C8B-B14F-4D97-AF65-F5344CB8AC3E}">
        <p14:creationId xmlns:p14="http://schemas.microsoft.com/office/powerpoint/2010/main" val="2047862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5" name="TextBox 24"/>
          <p:cNvSpPr txBox="1"/>
          <p:nvPr userDrawn="1"/>
        </p:nvSpPr>
        <p:spPr>
          <a:xfrm>
            <a:off x="8053154" y="6654664"/>
            <a:ext cx="895071" cy="215444"/>
          </a:xfrm>
          <a:prstGeom prst="rect">
            <a:avLst/>
          </a:prstGeom>
          <a:noFill/>
        </p:spPr>
        <p:txBody>
          <a:bodyPr wrap="square" rtlCol="0">
            <a:spAutoFit/>
          </a:bodyPr>
          <a:lstStyle/>
          <a:p>
            <a:pPr algn="r"/>
            <a:fld id="{866A5236-44AD-2042-BEB4-E68B6DAEE093}" type="slidenum">
              <a:rPr lang="en-US" sz="800" smtClean="0">
                <a:solidFill>
                  <a:schemeClr val="bg1"/>
                </a:solidFill>
              </a:rPr>
              <a:pPr algn="r"/>
              <a:t>‹#›</a:t>
            </a:fld>
            <a:endParaRPr lang="en-US" sz="800" dirty="0">
              <a:solidFill>
                <a:schemeClr val="bg1"/>
              </a:solidFill>
            </a:endParaRPr>
          </a:p>
        </p:txBody>
      </p:sp>
      <p:sp>
        <p:nvSpPr>
          <p:cNvPr id="7" name="Rectangle 6"/>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106823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Heading_List">
    <p:spTree>
      <p:nvGrpSpPr>
        <p:cNvPr id="1" name=""/>
        <p:cNvGrpSpPr/>
        <p:nvPr/>
      </p:nvGrpSpPr>
      <p:grpSpPr>
        <a:xfrm>
          <a:off x="0" y="0"/>
          <a:ext cx="0" cy="0"/>
          <a:chOff x="0" y="0"/>
          <a:chExt cx="0" cy="0"/>
        </a:xfrm>
      </p:grpSpPr>
      <p:sp>
        <p:nvSpPr>
          <p:cNvPr id="25" name="TextBox 24"/>
          <p:cNvSpPr txBox="1"/>
          <p:nvPr userDrawn="1"/>
        </p:nvSpPr>
        <p:spPr>
          <a:xfrm>
            <a:off x="8053154" y="6654664"/>
            <a:ext cx="895071"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866A5236-44AD-2042-BEB4-E68B6DAEE093}" type="slidenum">
              <a:rPr kumimoji="0" lang="en-US" sz="800" b="0" i="0" u="none" strike="noStrike" kern="0" cap="none" spc="0" normalizeH="0" baseline="0" noProof="0" smtClean="0">
                <a:ln>
                  <a:noFill/>
                </a:ln>
                <a:solidFill>
                  <a:schemeClr val="bg1"/>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dirty="0">
              <a:ln>
                <a:noFill/>
              </a:ln>
              <a:solidFill>
                <a:schemeClr val="bg1"/>
              </a:solidFill>
              <a:effectLst/>
              <a:uLnTx/>
              <a:uFillTx/>
            </a:endParaRPr>
          </a:p>
        </p:txBody>
      </p:sp>
      <p:sp>
        <p:nvSpPr>
          <p:cNvPr id="2" name="Title 1"/>
          <p:cNvSpPr>
            <a:spLocks noGrp="1"/>
          </p:cNvSpPr>
          <p:nvPr>
            <p:ph type="title" hasCustomPrompt="1"/>
          </p:nvPr>
        </p:nvSpPr>
        <p:spPr>
          <a:xfrm>
            <a:off x="457200" y="445196"/>
            <a:ext cx="8229600" cy="972441"/>
          </a:xfrm>
          <a:prstGeom prst="rect">
            <a:avLst/>
          </a:prstGeom>
        </p:spPr>
        <p:txBody>
          <a:bodyPr vert="horz"/>
          <a:lstStyle>
            <a:lvl1pPr>
              <a:defRPr sz="4000" b="0" i="0">
                <a:ln>
                  <a:noFill/>
                </a:ln>
                <a:solidFill>
                  <a:srgbClr val="178793"/>
                </a:solidFill>
                <a:latin typeface="Gill Sans MT" charset="0"/>
                <a:ea typeface="Gill Sans MT" charset="0"/>
                <a:cs typeface="Gill Sans MT" charset="0"/>
              </a:defRPr>
            </a:lvl1pPr>
          </a:lstStyle>
          <a:p>
            <a:r>
              <a:rPr lang="en-US" dirty="0"/>
              <a:t>Title</a:t>
            </a:r>
          </a:p>
        </p:txBody>
      </p:sp>
      <p:sp>
        <p:nvSpPr>
          <p:cNvPr id="4" name="Text Placeholder 3"/>
          <p:cNvSpPr>
            <a:spLocks noGrp="1"/>
          </p:cNvSpPr>
          <p:nvPr>
            <p:ph type="body" sz="quarter" idx="10"/>
          </p:nvPr>
        </p:nvSpPr>
        <p:spPr>
          <a:xfrm>
            <a:off x="457200" y="1584325"/>
            <a:ext cx="8229600" cy="4360366"/>
          </a:xfrm>
          <a:prstGeom prst="rect">
            <a:avLst/>
          </a:prstGeom>
        </p:spPr>
        <p:txBody>
          <a:bodyPr vert="horz"/>
          <a:lstStyle>
            <a:lvl1pPr>
              <a:buClr>
                <a:srgbClr val="178793"/>
              </a:buClr>
              <a:buSzPct val="100000"/>
              <a:buFont typeface="Arial"/>
              <a:buChar char="•"/>
              <a:defRPr sz="2000" b="0" i="0" spc="0">
                <a:solidFill>
                  <a:schemeClr val="tx1"/>
                </a:solidFill>
                <a:latin typeface="Gill Sans MT" charset="0"/>
                <a:ea typeface="Gill Sans MT" charset="0"/>
                <a:cs typeface="Gill Sans MT" charset="0"/>
              </a:defRPr>
            </a:lvl1pPr>
            <a:lvl2pPr>
              <a:buClr>
                <a:srgbClr val="178793"/>
              </a:buClr>
              <a:defRPr sz="1800" b="0" i="0">
                <a:solidFill>
                  <a:schemeClr val="tx1"/>
                </a:solidFill>
                <a:latin typeface="Gill Sans MT" charset="0"/>
                <a:ea typeface="Gill Sans MT" charset="0"/>
                <a:cs typeface="Gill Sans MT" charset="0"/>
              </a:defRPr>
            </a:lvl2pPr>
            <a:lvl3pPr marL="1143000" indent="-228600">
              <a:buClr>
                <a:srgbClr val="178793"/>
              </a:buClr>
              <a:buSzPct val="83000"/>
              <a:buFont typeface="Courier New"/>
              <a:buChar char="o"/>
              <a:defRPr sz="1600" b="0" i="0">
                <a:solidFill>
                  <a:schemeClr val="tx1"/>
                </a:solidFill>
                <a:latin typeface="Gill Sans MT" charset="0"/>
                <a:ea typeface="Gill Sans MT" charset="0"/>
                <a:cs typeface="Gill Sans MT" charset="0"/>
              </a:defRPr>
            </a:lvl3pPr>
            <a:lvl4pPr>
              <a:defRPr>
                <a:solidFill>
                  <a:srgbClr val="535352"/>
                </a:solidFill>
                <a:latin typeface="Calibri"/>
                <a:cs typeface="Calibri"/>
              </a:defRPr>
            </a:lvl4pPr>
            <a:lvl5pPr>
              <a:defRPr>
                <a:solidFill>
                  <a:srgbClr val="535352"/>
                </a:solidFill>
                <a:latin typeface="Calibri"/>
                <a:cs typeface="Calibri"/>
              </a:defRPr>
            </a:lvl5pPr>
          </a:lstStyle>
          <a:p>
            <a:pPr lvl="0"/>
            <a:r>
              <a:rPr lang="en-US" dirty="0"/>
              <a:t>Click to edit Master text styles</a:t>
            </a:r>
          </a:p>
          <a:p>
            <a:pPr lvl="1"/>
            <a:r>
              <a:rPr lang="en-US" dirty="0"/>
              <a:t>Second level</a:t>
            </a:r>
          </a:p>
          <a:p>
            <a:pPr lvl="2"/>
            <a:r>
              <a:rPr lang="en-US" dirty="0"/>
              <a:t>Third level</a:t>
            </a:r>
          </a:p>
        </p:txBody>
      </p:sp>
      <p:sp>
        <p:nvSpPr>
          <p:cNvPr id="7" name="Rectangle 6"/>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9" name="TextBox 8">
            <a:extLst>
              <a:ext uri="{FF2B5EF4-FFF2-40B4-BE49-F238E27FC236}">
                <a16:creationId xmlns:a16="http://schemas.microsoft.com/office/drawing/2014/main" id="{093639E4-A3DE-4274-BEF7-2331ABEB15BD}"/>
              </a:ext>
            </a:extLst>
          </p:cNvPr>
          <p:cNvSpPr txBox="1"/>
          <p:nvPr userDrawn="1"/>
        </p:nvSpPr>
        <p:spPr>
          <a:xfrm>
            <a:off x="8053154" y="6654664"/>
            <a:ext cx="895071" cy="215444"/>
          </a:xfrm>
          <a:prstGeom prst="rect">
            <a:avLst/>
          </a:prstGeom>
          <a:noFill/>
        </p:spPr>
        <p:txBody>
          <a:bodyPr wrap="square" rtlCol="0">
            <a:spAutoFit/>
          </a:bodyPr>
          <a:lstStyle/>
          <a:p>
            <a:pPr algn="r"/>
            <a:fld id="{866A5236-44AD-2042-BEB4-E68B6DAEE093}" type="slidenum">
              <a:rPr lang="en-US" sz="800" smtClean="0">
                <a:solidFill>
                  <a:schemeClr val="bg1"/>
                </a:solidFill>
              </a:rPr>
              <a:pPr algn="r"/>
              <a:t>‹#›</a:t>
            </a:fld>
            <a:endParaRPr lang="en-US" sz="800" dirty="0">
              <a:solidFill>
                <a:schemeClr val="bg1"/>
              </a:solidFill>
            </a:endParaRPr>
          </a:p>
        </p:txBody>
      </p:sp>
      <p:sp>
        <p:nvSpPr>
          <p:cNvPr id="13" name="Rectangle 12">
            <a:extLst>
              <a:ext uri="{FF2B5EF4-FFF2-40B4-BE49-F238E27FC236}">
                <a16:creationId xmlns:a16="http://schemas.microsoft.com/office/drawing/2014/main" id="{1E574D46-185E-46F3-802B-6DE7F53DC29D}"/>
              </a:ext>
            </a:extLst>
          </p:cNvPr>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14" name="Picture 13">
            <a:extLst>
              <a:ext uri="{FF2B5EF4-FFF2-40B4-BE49-F238E27FC236}">
                <a16:creationId xmlns:a16="http://schemas.microsoft.com/office/drawing/2014/main" id="{BB5738FE-1FB6-42C4-9BAE-4D64B618A58C}"/>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65295" y="5976837"/>
            <a:ext cx="1734763" cy="714467"/>
          </a:xfrm>
          <a:prstGeom prst="rect">
            <a:avLst/>
          </a:prstGeom>
        </p:spPr>
      </p:pic>
      <p:pic>
        <p:nvPicPr>
          <p:cNvPr id="15" name="Picture 14" descr="OPTIONS-Logo_CMYK.jpg">
            <a:extLst>
              <a:ext uri="{FF2B5EF4-FFF2-40B4-BE49-F238E27FC236}">
                <a16:creationId xmlns:a16="http://schemas.microsoft.com/office/drawing/2014/main" id="{B4BA42BA-5226-4FA5-8884-7FA56D3383D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49668" y="5993951"/>
            <a:ext cx="1261725" cy="679033"/>
          </a:xfrm>
          <a:prstGeom prst="rect">
            <a:avLst/>
          </a:prstGeom>
        </p:spPr>
      </p:pic>
      <p:pic>
        <p:nvPicPr>
          <p:cNvPr id="16" name="Picture 15">
            <a:extLst>
              <a:ext uri="{FF2B5EF4-FFF2-40B4-BE49-F238E27FC236}">
                <a16:creationId xmlns:a16="http://schemas.microsoft.com/office/drawing/2014/main" id="{7C2171FC-9032-4943-BC78-54CCAC5DFD7E}"/>
              </a:ext>
            </a:extLst>
          </p:cNvPr>
          <p:cNvPicPr>
            <a:picLocks noChangeAspect="1"/>
          </p:cNvPicPr>
          <p:nvPr userDrawn="1"/>
        </p:nvPicPr>
        <p:blipFill>
          <a:blip r:embed="rId4"/>
          <a:stretch>
            <a:fillRect/>
          </a:stretch>
        </p:blipFill>
        <p:spPr>
          <a:xfrm>
            <a:off x="1475708" y="6021475"/>
            <a:ext cx="825949" cy="569465"/>
          </a:xfrm>
          <a:prstGeom prst="rect">
            <a:avLst/>
          </a:prstGeom>
        </p:spPr>
      </p:pic>
      <p:pic>
        <p:nvPicPr>
          <p:cNvPr id="17" name="Picture 16">
            <a:extLst>
              <a:ext uri="{FF2B5EF4-FFF2-40B4-BE49-F238E27FC236}">
                <a16:creationId xmlns:a16="http://schemas.microsoft.com/office/drawing/2014/main" id="{368B14CA-3658-4B47-A727-AB2CF1A0D6BE}"/>
              </a:ext>
            </a:extLst>
          </p:cNvPr>
          <p:cNvPicPr>
            <a:picLocks noChangeAspect="1"/>
          </p:cNvPicPr>
          <p:nvPr userDrawn="1"/>
        </p:nvPicPr>
        <p:blipFill>
          <a:blip r:embed="rId5"/>
          <a:stretch>
            <a:fillRect/>
          </a:stretch>
        </p:blipFill>
        <p:spPr>
          <a:xfrm>
            <a:off x="3574189" y="5952800"/>
            <a:ext cx="847417" cy="670618"/>
          </a:xfrm>
          <a:prstGeom prst="rect">
            <a:avLst/>
          </a:prstGeom>
        </p:spPr>
      </p:pic>
      <p:pic>
        <p:nvPicPr>
          <p:cNvPr id="18" name="Picture 17">
            <a:extLst>
              <a:ext uri="{FF2B5EF4-FFF2-40B4-BE49-F238E27FC236}">
                <a16:creationId xmlns:a16="http://schemas.microsoft.com/office/drawing/2014/main" id="{5634C418-8392-4B21-A834-D2F6AA449240}"/>
              </a:ext>
            </a:extLst>
          </p:cNvPr>
          <p:cNvPicPr>
            <a:picLocks noChangeAspect="1"/>
          </p:cNvPicPr>
          <p:nvPr userDrawn="1"/>
        </p:nvPicPr>
        <p:blipFill>
          <a:blip r:embed="rId6"/>
          <a:stretch>
            <a:fillRect/>
          </a:stretch>
        </p:blipFill>
        <p:spPr>
          <a:xfrm>
            <a:off x="7425131" y="5976837"/>
            <a:ext cx="1637643" cy="670618"/>
          </a:xfrm>
          <a:prstGeom prst="rect">
            <a:avLst/>
          </a:prstGeom>
        </p:spPr>
      </p:pic>
      <p:pic>
        <p:nvPicPr>
          <p:cNvPr id="19" name="Picture 18">
            <a:extLst>
              <a:ext uri="{FF2B5EF4-FFF2-40B4-BE49-F238E27FC236}">
                <a16:creationId xmlns:a16="http://schemas.microsoft.com/office/drawing/2014/main" id="{7067A68C-34D8-4C52-978F-B3276CECD8C4}"/>
              </a:ext>
            </a:extLst>
          </p:cNvPr>
          <p:cNvPicPr>
            <a:picLocks noChangeAspect="1"/>
          </p:cNvPicPr>
          <p:nvPr userDrawn="1"/>
        </p:nvPicPr>
        <p:blipFill>
          <a:blip r:embed="rId7"/>
          <a:stretch>
            <a:fillRect/>
          </a:stretch>
        </p:blipFill>
        <p:spPr>
          <a:xfrm>
            <a:off x="4493277" y="6092486"/>
            <a:ext cx="1870255" cy="523348"/>
          </a:xfrm>
          <a:prstGeom prst="rect">
            <a:avLst/>
          </a:prstGeom>
        </p:spPr>
      </p:pic>
      <p:pic>
        <p:nvPicPr>
          <p:cNvPr id="20" name="Picture 19">
            <a:extLst>
              <a:ext uri="{FF2B5EF4-FFF2-40B4-BE49-F238E27FC236}">
                <a16:creationId xmlns:a16="http://schemas.microsoft.com/office/drawing/2014/main" id="{C8BBB50C-FA19-4077-8937-203F7E0E0505}"/>
              </a:ext>
            </a:extLst>
          </p:cNvPr>
          <p:cNvPicPr>
            <a:picLocks noChangeAspect="1"/>
          </p:cNvPicPr>
          <p:nvPr userDrawn="1"/>
        </p:nvPicPr>
        <p:blipFill>
          <a:blip r:embed="rId8"/>
          <a:stretch>
            <a:fillRect/>
          </a:stretch>
        </p:blipFill>
        <p:spPr>
          <a:xfrm>
            <a:off x="6479107" y="6071793"/>
            <a:ext cx="830449" cy="523348"/>
          </a:xfrm>
          <a:prstGeom prst="rect">
            <a:avLst/>
          </a:prstGeom>
        </p:spPr>
      </p:pic>
    </p:spTree>
    <p:extLst>
      <p:ext uri="{BB962C8B-B14F-4D97-AF65-F5344CB8AC3E}">
        <p14:creationId xmlns:p14="http://schemas.microsoft.com/office/powerpoint/2010/main" val="2976464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5" name="TextBox 24"/>
          <p:cNvSpPr txBox="1"/>
          <p:nvPr userDrawn="1"/>
        </p:nvSpPr>
        <p:spPr>
          <a:xfrm>
            <a:off x="8053154" y="6654664"/>
            <a:ext cx="895071"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fld id="{866A5236-44AD-2042-BEB4-E68B6DAEE093}" type="slidenum">
              <a:rPr kumimoji="0" lang="en-US" sz="800" b="0" i="0" u="none" strike="noStrike" kern="0" cap="none" spc="0" normalizeH="0" baseline="0" noProof="0" smtClean="0">
                <a:ln>
                  <a:noFill/>
                </a:ln>
                <a:solidFill>
                  <a:schemeClr val="bg1"/>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dirty="0">
              <a:ln>
                <a:noFill/>
              </a:ln>
              <a:solidFill>
                <a:schemeClr val="bg1"/>
              </a:solidFill>
              <a:effectLst/>
              <a:uLnTx/>
              <a:uFillTx/>
            </a:endParaRPr>
          </a:p>
        </p:txBody>
      </p:sp>
      <p:sp>
        <p:nvSpPr>
          <p:cNvPr id="7" name="Rectangle 6"/>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endParaRPr>
          </a:p>
        </p:txBody>
      </p:sp>
      <p:sp>
        <p:nvSpPr>
          <p:cNvPr id="6" name="Title 1"/>
          <p:cNvSpPr>
            <a:spLocks noGrp="1"/>
          </p:cNvSpPr>
          <p:nvPr>
            <p:ph type="title" hasCustomPrompt="1"/>
          </p:nvPr>
        </p:nvSpPr>
        <p:spPr>
          <a:xfrm>
            <a:off x="457200" y="445196"/>
            <a:ext cx="8229600" cy="972441"/>
          </a:xfrm>
          <a:prstGeom prst="rect">
            <a:avLst/>
          </a:prstGeom>
        </p:spPr>
        <p:txBody>
          <a:bodyPr vert="horz"/>
          <a:lstStyle>
            <a:lvl1pPr>
              <a:defRPr sz="4000" b="0" i="0">
                <a:ln>
                  <a:noFill/>
                </a:ln>
                <a:solidFill>
                  <a:srgbClr val="178793"/>
                </a:solidFill>
                <a:latin typeface="Gill Sans MT" charset="0"/>
                <a:ea typeface="Gill Sans MT" charset="0"/>
                <a:cs typeface="Gill Sans MT" charset="0"/>
              </a:defRPr>
            </a:lvl1pPr>
          </a:lstStyle>
          <a:p>
            <a:r>
              <a:rPr lang="en-US" dirty="0"/>
              <a:t>Title</a:t>
            </a:r>
          </a:p>
        </p:txBody>
      </p:sp>
      <p:sp>
        <p:nvSpPr>
          <p:cNvPr id="8" name="Text Placeholder 3"/>
          <p:cNvSpPr>
            <a:spLocks noGrp="1"/>
          </p:cNvSpPr>
          <p:nvPr>
            <p:ph type="body" sz="quarter" idx="10"/>
          </p:nvPr>
        </p:nvSpPr>
        <p:spPr>
          <a:xfrm>
            <a:off x="457200" y="1584325"/>
            <a:ext cx="8229600" cy="4360366"/>
          </a:xfrm>
          <a:prstGeom prst="rect">
            <a:avLst/>
          </a:prstGeom>
        </p:spPr>
        <p:txBody>
          <a:bodyPr vert="horz"/>
          <a:lstStyle>
            <a:lvl1pPr>
              <a:buClr>
                <a:srgbClr val="178793"/>
              </a:buClr>
              <a:buSzPct val="100000"/>
              <a:buFont typeface="Arial"/>
              <a:buChar char="•"/>
              <a:defRPr sz="2000" b="0" i="0" spc="0">
                <a:solidFill>
                  <a:schemeClr val="tx1"/>
                </a:solidFill>
                <a:latin typeface="Gill Sans MT" charset="0"/>
                <a:ea typeface="Gill Sans MT" charset="0"/>
                <a:cs typeface="Gill Sans MT" charset="0"/>
              </a:defRPr>
            </a:lvl1pPr>
            <a:lvl2pPr>
              <a:buClr>
                <a:srgbClr val="178793"/>
              </a:buClr>
              <a:defRPr sz="1800" b="0" i="0">
                <a:solidFill>
                  <a:schemeClr val="tx1"/>
                </a:solidFill>
                <a:latin typeface="Gill Sans MT" charset="0"/>
                <a:ea typeface="Gill Sans MT" charset="0"/>
                <a:cs typeface="Gill Sans MT" charset="0"/>
              </a:defRPr>
            </a:lvl2pPr>
            <a:lvl3pPr marL="1143000" indent="-228600">
              <a:buClr>
                <a:srgbClr val="178793"/>
              </a:buClr>
              <a:buSzPct val="83000"/>
              <a:buFont typeface="Courier New"/>
              <a:buChar char="o"/>
              <a:defRPr sz="1600" b="0" i="0">
                <a:solidFill>
                  <a:schemeClr val="tx1"/>
                </a:solidFill>
                <a:latin typeface="Gill Sans MT" charset="0"/>
                <a:ea typeface="Gill Sans MT" charset="0"/>
                <a:cs typeface="Gill Sans MT" charset="0"/>
              </a:defRPr>
            </a:lvl3pPr>
            <a:lvl4pPr>
              <a:defRPr>
                <a:solidFill>
                  <a:srgbClr val="535352"/>
                </a:solidFill>
                <a:latin typeface="Calibri"/>
                <a:cs typeface="Calibri"/>
              </a:defRPr>
            </a:lvl4pPr>
            <a:lvl5pPr>
              <a:defRPr>
                <a:solidFill>
                  <a:srgbClr val="535352"/>
                </a:solidFill>
                <a:latin typeface="Calibri"/>
                <a:cs typeface="Calibri"/>
              </a:defRPr>
            </a:lvl5p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E7950DAF-7A63-4E21-80B7-4F422614D58A}"/>
              </a:ext>
            </a:extLst>
          </p:cNvPr>
          <p:cNvSpPr txBox="1"/>
          <p:nvPr userDrawn="1"/>
        </p:nvSpPr>
        <p:spPr>
          <a:xfrm>
            <a:off x="8053154" y="6654664"/>
            <a:ext cx="895071" cy="215444"/>
          </a:xfrm>
          <a:prstGeom prst="rect">
            <a:avLst/>
          </a:prstGeom>
          <a:noFill/>
        </p:spPr>
        <p:txBody>
          <a:bodyPr wrap="square" rtlCol="0">
            <a:spAutoFit/>
          </a:bodyPr>
          <a:lstStyle/>
          <a:p>
            <a:pPr algn="r"/>
            <a:fld id="{866A5236-44AD-2042-BEB4-E68B6DAEE093}" type="slidenum">
              <a:rPr lang="en-US" sz="800" smtClean="0">
                <a:solidFill>
                  <a:schemeClr val="bg1"/>
                </a:solidFill>
              </a:rPr>
              <a:pPr algn="r"/>
              <a:t>‹#›</a:t>
            </a:fld>
            <a:endParaRPr lang="en-US" sz="800" dirty="0">
              <a:solidFill>
                <a:schemeClr val="bg1"/>
              </a:solidFill>
            </a:endParaRPr>
          </a:p>
        </p:txBody>
      </p:sp>
      <p:sp>
        <p:nvSpPr>
          <p:cNvPr id="13" name="Rectangle 12">
            <a:extLst>
              <a:ext uri="{FF2B5EF4-FFF2-40B4-BE49-F238E27FC236}">
                <a16:creationId xmlns:a16="http://schemas.microsoft.com/office/drawing/2014/main" id="{F91480BE-3410-426D-AFE2-82BD3080706A}"/>
              </a:ext>
            </a:extLst>
          </p:cNvPr>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14" name="Picture 13">
            <a:extLst>
              <a:ext uri="{FF2B5EF4-FFF2-40B4-BE49-F238E27FC236}">
                <a16:creationId xmlns:a16="http://schemas.microsoft.com/office/drawing/2014/main" id="{874B2F93-D6A1-4C66-9C4D-7FF60834DCFC}"/>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65295" y="5976837"/>
            <a:ext cx="1734763" cy="714467"/>
          </a:xfrm>
          <a:prstGeom prst="rect">
            <a:avLst/>
          </a:prstGeom>
        </p:spPr>
      </p:pic>
      <p:pic>
        <p:nvPicPr>
          <p:cNvPr id="15" name="Picture 14" descr="OPTIONS-Logo_CMYK.jpg">
            <a:extLst>
              <a:ext uri="{FF2B5EF4-FFF2-40B4-BE49-F238E27FC236}">
                <a16:creationId xmlns:a16="http://schemas.microsoft.com/office/drawing/2014/main" id="{D1D442C5-89B0-46C6-94B0-B146C5A5725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49668" y="5993951"/>
            <a:ext cx="1261725" cy="679033"/>
          </a:xfrm>
          <a:prstGeom prst="rect">
            <a:avLst/>
          </a:prstGeom>
        </p:spPr>
      </p:pic>
      <p:pic>
        <p:nvPicPr>
          <p:cNvPr id="16" name="Picture 15">
            <a:extLst>
              <a:ext uri="{FF2B5EF4-FFF2-40B4-BE49-F238E27FC236}">
                <a16:creationId xmlns:a16="http://schemas.microsoft.com/office/drawing/2014/main" id="{96242A0B-6446-42E7-96BC-781CE3B3D0AA}"/>
              </a:ext>
            </a:extLst>
          </p:cNvPr>
          <p:cNvPicPr>
            <a:picLocks noChangeAspect="1"/>
          </p:cNvPicPr>
          <p:nvPr userDrawn="1"/>
        </p:nvPicPr>
        <p:blipFill>
          <a:blip r:embed="rId4"/>
          <a:stretch>
            <a:fillRect/>
          </a:stretch>
        </p:blipFill>
        <p:spPr>
          <a:xfrm>
            <a:off x="1475708" y="6021475"/>
            <a:ext cx="825949" cy="569465"/>
          </a:xfrm>
          <a:prstGeom prst="rect">
            <a:avLst/>
          </a:prstGeom>
        </p:spPr>
      </p:pic>
      <p:pic>
        <p:nvPicPr>
          <p:cNvPr id="17" name="Picture 16">
            <a:extLst>
              <a:ext uri="{FF2B5EF4-FFF2-40B4-BE49-F238E27FC236}">
                <a16:creationId xmlns:a16="http://schemas.microsoft.com/office/drawing/2014/main" id="{3071D8CE-7985-455E-BD2B-E8F61E4605FD}"/>
              </a:ext>
            </a:extLst>
          </p:cNvPr>
          <p:cNvPicPr>
            <a:picLocks noChangeAspect="1"/>
          </p:cNvPicPr>
          <p:nvPr userDrawn="1"/>
        </p:nvPicPr>
        <p:blipFill>
          <a:blip r:embed="rId5"/>
          <a:stretch>
            <a:fillRect/>
          </a:stretch>
        </p:blipFill>
        <p:spPr>
          <a:xfrm>
            <a:off x="3574189" y="5952800"/>
            <a:ext cx="847417" cy="670618"/>
          </a:xfrm>
          <a:prstGeom prst="rect">
            <a:avLst/>
          </a:prstGeom>
        </p:spPr>
      </p:pic>
      <p:pic>
        <p:nvPicPr>
          <p:cNvPr id="18" name="Picture 17">
            <a:extLst>
              <a:ext uri="{FF2B5EF4-FFF2-40B4-BE49-F238E27FC236}">
                <a16:creationId xmlns:a16="http://schemas.microsoft.com/office/drawing/2014/main" id="{95CACEC1-2118-4C13-8E6E-51F678E2A6F4}"/>
              </a:ext>
            </a:extLst>
          </p:cNvPr>
          <p:cNvPicPr>
            <a:picLocks noChangeAspect="1"/>
          </p:cNvPicPr>
          <p:nvPr userDrawn="1"/>
        </p:nvPicPr>
        <p:blipFill>
          <a:blip r:embed="rId6"/>
          <a:stretch>
            <a:fillRect/>
          </a:stretch>
        </p:blipFill>
        <p:spPr>
          <a:xfrm>
            <a:off x="7425131" y="5976837"/>
            <a:ext cx="1637643" cy="670618"/>
          </a:xfrm>
          <a:prstGeom prst="rect">
            <a:avLst/>
          </a:prstGeom>
        </p:spPr>
      </p:pic>
      <p:pic>
        <p:nvPicPr>
          <p:cNvPr id="19" name="Picture 18">
            <a:extLst>
              <a:ext uri="{FF2B5EF4-FFF2-40B4-BE49-F238E27FC236}">
                <a16:creationId xmlns:a16="http://schemas.microsoft.com/office/drawing/2014/main" id="{EE5E069F-541D-4CF4-8E87-3923F60C6648}"/>
              </a:ext>
            </a:extLst>
          </p:cNvPr>
          <p:cNvPicPr>
            <a:picLocks noChangeAspect="1"/>
          </p:cNvPicPr>
          <p:nvPr userDrawn="1"/>
        </p:nvPicPr>
        <p:blipFill>
          <a:blip r:embed="rId7"/>
          <a:stretch>
            <a:fillRect/>
          </a:stretch>
        </p:blipFill>
        <p:spPr>
          <a:xfrm>
            <a:off x="4493277" y="6092486"/>
            <a:ext cx="1870255" cy="523348"/>
          </a:xfrm>
          <a:prstGeom prst="rect">
            <a:avLst/>
          </a:prstGeom>
        </p:spPr>
      </p:pic>
      <p:pic>
        <p:nvPicPr>
          <p:cNvPr id="20" name="Picture 19">
            <a:extLst>
              <a:ext uri="{FF2B5EF4-FFF2-40B4-BE49-F238E27FC236}">
                <a16:creationId xmlns:a16="http://schemas.microsoft.com/office/drawing/2014/main" id="{F17AC284-11D4-4D2C-A503-E42F265CFBC3}"/>
              </a:ext>
            </a:extLst>
          </p:cNvPr>
          <p:cNvPicPr>
            <a:picLocks noChangeAspect="1"/>
          </p:cNvPicPr>
          <p:nvPr userDrawn="1"/>
        </p:nvPicPr>
        <p:blipFill>
          <a:blip r:embed="rId8"/>
          <a:stretch>
            <a:fillRect/>
          </a:stretch>
        </p:blipFill>
        <p:spPr>
          <a:xfrm>
            <a:off x="6479107" y="6071793"/>
            <a:ext cx="830449" cy="523348"/>
          </a:xfrm>
          <a:prstGeom prst="rect">
            <a:avLst/>
          </a:prstGeom>
        </p:spPr>
      </p:pic>
    </p:spTree>
    <p:extLst>
      <p:ext uri="{BB962C8B-B14F-4D97-AF65-F5344CB8AC3E}">
        <p14:creationId xmlns:p14="http://schemas.microsoft.com/office/powerpoint/2010/main" val="4573574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6" r:id="rId1"/>
    <p:sldLayoutId id="2147483657" r:id="rId2"/>
    <p:sldLayoutId id="2147483666" r:id="rId3"/>
    <p:sldLayoutId id="2147483667" r:id="rId4"/>
    <p:sldLayoutId id="2147483676" r:id="rId5"/>
    <p:sldLayoutId id="2147483677" r:id="rId6"/>
  </p:sldLayoutIdLst>
  <p:txStyles>
    <p:titleStyle>
      <a:lvl1pPr algn="l" defTabSz="457200" rtl="0" eaLnBrk="1" latinLnBrk="0" hangingPunct="1">
        <a:lnSpc>
          <a:spcPts val="4480"/>
        </a:lnSpc>
        <a:spcBef>
          <a:spcPct val="0"/>
        </a:spcBef>
        <a:spcAft>
          <a:spcPts val="0"/>
        </a:spcAft>
        <a:buNone/>
        <a:defRPr sz="4400" kern="1200" baseline="0">
          <a:solidFill>
            <a:schemeClr val="bg1"/>
          </a:solidFill>
          <a:latin typeface="+mj-lt"/>
          <a:ea typeface="+mj-ea"/>
          <a:cs typeface="+mj-cs"/>
        </a:defRPr>
      </a:lvl1pPr>
    </p:titleStyle>
    <p:bodyStyle>
      <a:lvl1pPr marL="342900" indent="-342900" algn="l" defTabSz="457200" rtl="0" eaLnBrk="1" latinLnBrk="0" hangingPunct="1">
        <a:spcBef>
          <a:spcPct val="20000"/>
        </a:spcBef>
        <a:buFontTx/>
        <a:buNone/>
        <a:defRPr sz="2100" b="1" i="0" kern="1200" spc="150">
          <a:solidFill>
            <a:schemeClr val="bg1"/>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0"/>
            <a:ext cx="5678488" cy="99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p:cNvSpPr>
            <a:spLocks noGrp="1"/>
          </p:cNvSpPr>
          <p:nvPr>
            <p:ph type="body" idx="1"/>
          </p:nvPr>
        </p:nvSpPr>
        <p:spPr bwMode="auto">
          <a:xfrm>
            <a:off x="457200" y="1101725"/>
            <a:ext cx="8229600" cy="502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pic>
        <p:nvPicPr>
          <p:cNvPr id="2052" name="Picture 6" descr="FHI360_Logo_Horiz_tag_4c.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4825" y="6173788"/>
            <a:ext cx="817563"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nvSpPr>
        <p:spPr>
          <a:xfrm flipV="1">
            <a:off x="0" y="6691313"/>
            <a:ext cx="9190038" cy="195262"/>
          </a:xfrm>
          <a:prstGeom prst="rect">
            <a:avLst/>
          </a:prstGeom>
          <a:solidFill>
            <a:srgbClr val="279EC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bg1"/>
              </a:solidFill>
            </a:endParaRPr>
          </a:p>
        </p:txBody>
      </p:sp>
      <p:sp>
        <p:nvSpPr>
          <p:cNvPr id="3" name="Slide Number Placeholder 2"/>
          <p:cNvSpPr>
            <a:spLocks noGrp="1"/>
          </p:cNvSpPr>
          <p:nvPr>
            <p:ph type="sldNum" sz="quarter" idx="4"/>
          </p:nvPr>
        </p:nvSpPr>
        <p:spPr>
          <a:xfrm>
            <a:off x="8308975" y="6689725"/>
            <a:ext cx="492125" cy="179388"/>
          </a:xfrm>
          <a:prstGeom prst="rect">
            <a:avLst/>
          </a:prstGeom>
        </p:spPr>
        <p:txBody>
          <a:bodyPr vert="horz" lIns="91440" tIns="0" rIns="91440" bIns="0" rtlCol="0" anchor="t" anchorCtr="0"/>
          <a:lstStyle>
            <a:lvl1pPr algn="r">
              <a:defRPr sz="1200" b="1">
                <a:solidFill>
                  <a:schemeClr val="bg1"/>
                </a:solidFill>
                <a:latin typeface="Calibri" panose="020F0502020204030204" pitchFamily="34" charset="0"/>
              </a:defRPr>
            </a:lvl1pPr>
          </a:lstStyle>
          <a:p>
            <a:pPr>
              <a:defRPr/>
            </a:pPr>
            <a:fld id="{3EE23A90-A035-47CE-A24B-D9E0E97B7F74}" type="slidenum">
              <a:rPr lang="en-US"/>
              <a:pPr>
                <a:defRPr/>
              </a:pPr>
              <a:t>‹#›</a:t>
            </a:fld>
            <a:endParaRPr lang="en-US" dirty="0"/>
          </a:p>
        </p:txBody>
      </p:sp>
    </p:spTree>
    <p:extLst>
      <p:ext uri="{BB962C8B-B14F-4D97-AF65-F5344CB8AC3E}">
        <p14:creationId xmlns:p14="http://schemas.microsoft.com/office/powerpoint/2010/main" val="3028272071"/>
      </p:ext>
    </p:extLst>
  </p:cSld>
  <p:clrMap bg1="lt1" tx1="dk1" bg2="lt2" tx2="dk2" accent1="accent1" accent2="accent2" accent3="accent3" accent4="accent4" accent5="accent5" accent6="accent6" hlink="hlink" folHlink="folHlink"/>
  <p:hf hdr="0" ftr="0" dt="0"/>
  <p:txStyles>
    <p:titleStyle>
      <a:lvl1pPr algn="l" defTabSz="457200" rtl="0" eaLnBrk="0" fontAlgn="base" hangingPunct="0">
        <a:spcBef>
          <a:spcPct val="0"/>
        </a:spcBef>
        <a:spcAft>
          <a:spcPct val="0"/>
        </a:spcAft>
        <a:defRPr sz="2800" b="1" kern="1200">
          <a:solidFill>
            <a:srgbClr val="717074"/>
          </a:solidFill>
          <a:latin typeface="+mj-lt"/>
          <a:ea typeface="+mj-ea"/>
          <a:cs typeface="+mj-cs"/>
        </a:defRPr>
      </a:lvl1pPr>
      <a:lvl2pPr algn="l" defTabSz="457200" rtl="0" eaLnBrk="0" fontAlgn="base" hangingPunct="0">
        <a:spcBef>
          <a:spcPct val="0"/>
        </a:spcBef>
        <a:spcAft>
          <a:spcPct val="0"/>
        </a:spcAft>
        <a:defRPr sz="2800" b="1">
          <a:solidFill>
            <a:srgbClr val="717074"/>
          </a:solidFill>
          <a:latin typeface="Calibri" pitchFamily="34" charset="0"/>
        </a:defRPr>
      </a:lvl2pPr>
      <a:lvl3pPr algn="l" defTabSz="457200" rtl="0" eaLnBrk="0" fontAlgn="base" hangingPunct="0">
        <a:spcBef>
          <a:spcPct val="0"/>
        </a:spcBef>
        <a:spcAft>
          <a:spcPct val="0"/>
        </a:spcAft>
        <a:defRPr sz="2800" b="1">
          <a:solidFill>
            <a:srgbClr val="717074"/>
          </a:solidFill>
          <a:latin typeface="Calibri" pitchFamily="34" charset="0"/>
        </a:defRPr>
      </a:lvl3pPr>
      <a:lvl4pPr algn="l" defTabSz="457200" rtl="0" eaLnBrk="0" fontAlgn="base" hangingPunct="0">
        <a:spcBef>
          <a:spcPct val="0"/>
        </a:spcBef>
        <a:spcAft>
          <a:spcPct val="0"/>
        </a:spcAft>
        <a:defRPr sz="2800" b="1">
          <a:solidFill>
            <a:srgbClr val="717074"/>
          </a:solidFill>
          <a:latin typeface="Calibri" pitchFamily="34" charset="0"/>
        </a:defRPr>
      </a:lvl4pPr>
      <a:lvl5pPr algn="l" defTabSz="457200" rtl="0" eaLnBrk="0" fontAlgn="base" hangingPunct="0">
        <a:spcBef>
          <a:spcPct val="0"/>
        </a:spcBef>
        <a:spcAft>
          <a:spcPct val="0"/>
        </a:spcAft>
        <a:defRPr sz="2800" b="1">
          <a:solidFill>
            <a:srgbClr val="717074"/>
          </a:solidFill>
          <a:latin typeface="Calibri" pitchFamily="34" charset="0"/>
        </a:defRPr>
      </a:lvl5pPr>
      <a:lvl6pPr marL="457200" algn="l" defTabSz="457200" rtl="0" fontAlgn="base">
        <a:spcBef>
          <a:spcPct val="0"/>
        </a:spcBef>
        <a:spcAft>
          <a:spcPct val="0"/>
        </a:spcAft>
        <a:defRPr sz="2800" b="1">
          <a:solidFill>
            <a:srgbClr val="5C6F7A"/>
          </a:solidFill>
          <a:latin typeface="Calibri" pitchFamily="34" charset="0"/>
        </a:defRPr>
      </a:lvl6pPr>
      <a:lvl7pPr marL="914400" algn="l" defTabSz="457200" rtl="0" fontAlgn="base">
        <a:spcBef>
          <a:spcPct val="0"/>
        </a:spcBef>
        <a:spcAft>
          <a:spcPct val="0"/>
        </a:spcAft>
        <a:defRPr sz="2800" b="1">
          <a:solidFill>
            <a:srgbClr val="5C6F7A"/>
          </a:solidFill>
          <a:latin typeface="Calibri" pitchFamily="34" charset="0"/>
        </a:defRPr>
      </a:lvl7pPr>
      <a:lvl8pPr marL="1371600" algn="l" defTabSz="457200" rtl="0" fontAlgn="base">
        <a:spcBef>
          <a:spcPct val="0"/>
        </a:spcBef>
        <a:spcAft>
          <a:spcPct val="0"/>
        </a:spcAft>
        <a:defRPr sz="2800" b="1">
          <a:solidFill>
            <a:srgbClr val="5C6F7A"/>
          </a:solidFill>
          <a:latin typeface="Calibri" pitchFamily="34" charset="0"/>
        </a:defRPr>
      </a:lvl8pPr>
      <a:lvl9pPr marL="1828800" algn="l" defTabSz="457200" rtl="0" fontAlgn="base">
        <a:spcBef>
          <a:spcPct val="0"/>
        </a:spcBef>
        <a:spcAft>
          <a:spcPct val="0"/>
        </a:spcAft>
        <a:defRPr sz="2800" b="1">
          <a:solidFill>
            <a:srgbClr val="5C6F7A"/>
          </a:solidFill>
          <a:latin typeface="Calibri" pitchFamily="34" charset="0"/>
        </a:defRPr>
      </a:lvl9pPr>
    </p:titleStyle>
    <p:bodyStyle>
      <a:lvl1pPr marL="342900" indent="-342900" algn="l" defTabSz="457200" rtl="0" eaLnBrk="0" fontAlgn="base" hangingPunct="0">
        <a:spcBef>
          <a:spcPct val="20000"/>
        </a:spcBef>
        <a:spcAft>
          <a:spcPct val="0"/>
        </a:spcAft>
        <a:buClr>
          <a:srgbClr val="279ECE"/>
        </a:buClr>
        <a:buFont typeface="Arial" panose="020B0604020202020204" pitchFamily="34" charset="0"/>
        <a:buChar char="•"/>
        <a:defRPr sz="28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Clr>
          <a:srgbClr val="279ECE"/>
        </a:buClr>
        <a:buFont typeface="Arial" panose="020B0604020202020204" pitchFamily="34" charset="0"/>
        <a:buChar char="–"/>
        <a:defRPr sz="26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Clr>
          <a:srgbClr val="279ECE"/>
        </a:buClr>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Clr>
          <a:srgbClr val="279ECE"/>
        </a:buClr>
        <a:buFont typeface="Arial" panose="020B0604020202020204" pitchFamily="34" charset="0"/>
        <a:buChar char="–"/>
        <a:defRPr sz="22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Clr>
          <a:srgbClr val="279ECE"/>
        </a:buClr>
        <a:buFont typeface="Arial" panose="020B0604020202020204" pitchFamily="34" charset="0"/>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github.com/InstituteforDiseaseModeling/EMOD" TargetMode="External"/><Relationship Id="rId2" Type="http://schemas.openxmlformats.org/officeDocument/2006/relationships/hyperlink" Target="http://idmod.org/"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7" Type="http://schemas.microsoft.com/office/2007/relationships/hdphoto" Target="../media/hdphoto2.wdp"/><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tiff"/><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3.xml"/><Relationship Id="rId7" Type="http://schemas.openxmlformats.org/officeDocument/2006/relationships/image" Target="../media/image3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4.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26.xml.rels><?xml version="1.0" encoding="UTF-8" standalone="yes"?>
<Relationships xmlns="http://schemas.openxmlformats.org/package/2006/relationships"><Relationship Id="rId8" Type="http://schemas.openxmlformats.org/officeDocument/2006/relationships/hyperlink" Target="https://www.prepwatch.org/wp-content/uploads/2017/09/Private-Health-Sector-Landscape_Kenya.pdf" TargetMode="External"/><Relationship Id="rId3" Type="http://schemas.openxmlformats.org/officeDocument/2006/relationships/hyperlink" Target="http://www.prepwatch.org/" TargetMode="External"/><Relationship Id="rId7" Type="http://schemas.openxmlformats.org/officeDocument/2006/relationships/hyperlink" Target="https://www.prepwatch.org/wp-content/uploads/2017/09/Private-Health-Sector-Landscape-Summary.pdf"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s://www.prepwatch.org/wp-content/uploads/2017/09/DapRing_Case_For_Action_Sept2017.pdf" TargetMode="External"/><Relationship Id="rId11" Type="http://schemas.openxmlformats.org/officeDocument/2006/relationships/hyperlink" Target="http://www.avac.org/resource/ongoing-and-planned-prep-demonstration-and-implementation-studies" TargetMode="External"/><Relationship Id="rId5" Type="http://schemas.openxmlformats.org/officeDocument/2006/relationships/hyperlink" Target="https://www.prepwatch.org/plan-4-prep-tool/" TargetMode="External"/><Relationship Id="rId10" Type="http://schemas.openxmlformats.org/officeDocument/2006/relationships/hyperlink" Target="https://www.prepwatch.org/wp-content/uploads/2017/09/Private-Health-Sector-Landscape-Zimbabwe.pdf" TargetMode="External"/><Relationship Id="rId4" Type="http://schemas.openxmlformats.org/officeDocument/2006/relationships/hyperlink" Target="https://www.prepwatch.org/mpii-tools-resources/" TargetMode="External"/><Relationship Id="rId9" Type="http://schemas.openxmlformats.org/officeDocument/2006/relationships/hyperlink" Target="https://www.prepwatch.org/wp-content/uploads/2017/09/Private-Health-Sector-Landscape_SA.pdf"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10.png"/><Relationship Id="rId3" Type="http://schemas.openxmlformats.org/officeDocument/2006/relationships/image" Target="../media/image15.png"/><Relationship Id="rId7" Type="http://schemas.openxmlformats.org/officeDocument/2006/relationships/image" Target="../media/image19.jpg"/><Relationship Id="rId12"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jpg"/><Relationship Id="rId5" Type="http://schemas.openxmlformats.org/officeDocument/2006/relationships/image" Target="../media/image17.jpg"/><Relationship Id="rId10" Type="http://schemas.openxmlformats.org/officeDocument/2006/relationships/image" Target="../media/image22.jpg"/><Relationship Id="rId4" Type="http://schemas.openxmlformats.org/officeDocument/2006/relationships/image" Target="../media/image16.png"/><Relationship Id="rId9" Type="http://schemas.openxmlformats.org/officeDocument/2006/relationships/image" Target="../media/image21.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5582" y="225466"/>
            <a:ext cx="2670140" cy="656590"/>
          </a:xfrm>
          <a:prstGeom prst="rect">
            <a:avLst/>
          </a:prstGeom>
          <a:noFill/>
        </p:spPr>
        <p:txBody>
          <a:bodyPr wrap="square" rtlCol="0">
            <a:spAutoFit/>
          </a:bodyPr>
          <a:lstStyle/>
          <a:p>
            <a:pPr>
              <a:lnSpc>
                <a:spcPts val="4380"/>
              </a:lnSpc>
            </a:pPr>
            <a:r>
              <a:rPr lang="en-US" sz="4400" dirty="0">
                <a:solidFill>
                  <a:schemeClr val="bg1"/>
                </a:solidFill>
                <a:latin typeface="Gill Sans MT" panose="020B0502020104020203" pitchFamily="34" charset="0"/>
                <a:cs typeface="Calibri"/>
              </a:rPr>
              <a:t>OPTIONS</a:t>
            </a:r>
            <a:endParaRPr lang="en-US" sz="4400" b="0" i="0" dirty="0">
              <a:solidFill>
                <a:schemeClr val="bg1"/>
              </a:solidFill>
              <a:latin typeface="Gill Sans MT" panose="020B0502020104020203" pitchFamily="34" charset="0"/>
              <a:cs typeface="Calibri"/>
            </a:endParaRPr>
          </a:p>
        </p:txBody>
      </p:sp>
      <p:sp>
        <p:nvSpPr>
          <p:cNvPr id="4" name="TextBox 3"/>
          <p:cNvSpPr txBox="1"/>
          <p:nvPr/>
        </p:nvSpPr>
        <p:spPr>
          <a:xfrm>
            <a:off x="2851615" y="828288"/>
            <a:ext cx="5279603" cy="5201424"/>
          </a:xfrm>
          <a:prstGeom prst="rect">
            <a:avLst/>
          </a:prstGeom>
          <a:noFill/>
        </p:spPr>
        <p:txBody>
          <a:bodyPr wrap="square" rtlCol="0">
            <a:spAutoFit/>
          </a:bodyPr>
          <a:lstStyle/>
          <a:p>
            <a:r>
              <a:rPr lang="en-US" sz="2400" b="1" i="1" u="sng" dirty="0">
                <a:solidFill>
                  <a:schemeClr val="bg1"/>
                </a:solidFill>
                <a:cs typeface="Times New Roman" pitchFamily="18" charset="0"/>
              </a:rPr>
              <a:t>Modeling Oral HIV Pre-exposure Prophylaxis in Zimbabwe</a:t>
            </a:r>
            <a:endParaRPr lang="en-US" sz="2400" b="1" i="1" u="sng" spc="150" dirty="0">
              <a:solidFill>
                <a:schemeClr val="bg1"/>
              </a:solidFill>
              <a:cs typeface="Calibri"/>
            </a:endParaRPr>
          </a:p>
          <a:p>
            <a:endParaRPr lang="en-US" sz="2000" b="1" i="1" spc="150" dirty="0">
              <a:solidFill>
                <a:schemeClr val="bg1"/>
              </a:solidFill>
              <a:latin typeface="Gill Sans MT" panose="020B0502020104020203" pitchFamily="34" charset="0"/>
              <a:cs typeface="Calibri"/>
            </a:endParaRPr>
          </a:p>
          <a:p>
            <a:r>
              <a:rPr lang="en-GB" b="1" i="1" dirty="0" err="1">
                <a:solidFill>
                  <a:schemeClr val="bg1"/>
                </a:solidFill>
              </a:rPr>
              <a:t>Zindoga</a:t>
            </a:r>
            <a:r>
              <a:rPr lang="en-GB" b="1" i="1" dirty="0">
                <a:solidFill>
                  <a:schemeClr val="bg1"/>
                </a:solidFill>
              </a:rPr>
              <a:t> Mukandavire</a:t>
            </a:r>
            <a:r>
              <a:rPr lang="en-GB" b="1" i="1" baseline="30000" dirty="0">
                <a:solidFill>
                  <a:schemeClr val="bg1"/>
                </a:solidFill>
              </a:rPr>
              <a:t>1</a:t>
            </a:r>
            <a:r>
              <a:rPr lang="en-GB" b="1" i="1" dirty="0">
                <a:solidFill>
                  <a:schemeClr val="bg1"/>
                </a:solidFill>
              </a:rPr>
              <a:t>, </a:t>
            </a:r>
            <a:r>
              <a:rPr lang="en-GB" b="1" i="1" u="sng" dirty="0">
                <a:solidFill>
                  <a:schemeClr val="bg1"/>
                </a:solidFill>
              </a:rPr>
              <a:t>Graham F. Medley</a:t>
            </a:r>
            <a:r>
              <a:rPr lang="en-GB" b="1" i="1" u="sng" baseline="30000" dirty="0">
                <a:solidFill>
                  <a:schemeClr val="bg1"/>
                </a:solidFill>
              </a:rPr>
              <a:t>1</a:t>
            </a:r>
            <a:r>
              <a:rPr lang="en-GB" b="1" i="1" dirty="0">
                <a:solidFill>
                  <a:schemeClr val="bg1"/>
                </a:solidFill>
              </a:rPr>
              <a:t>, Fern Terris-Prestholt</a:t>
            </a:r>
            <a:r>
              <a:rPr lang="en-GB" b="1" i="1" baseline="30000" dirty="0">
                <a:solidFill>
                  <a:schemeClr val="bg1"/>
                </a:solidFill>
              </a:rPr>
              <a:t>1</a:t>
            </a:r>
            <a:r>
              <a:rPr lang="en-GB" b="1" i="1" dirty="0">
                <a:solidFill>
                  <a:schemeClr val="bg1"/>
                </a:solidFill>
              </a:rPr>
              <a:t>,</a:t>
            </a:r>
            <a:r>
              <a:rPr lang="en-GB" b="1" i="1" baseline="30000" dirty="0">
                <a:solidFill>
                  <a:schemeClr val="bg1"/>
                </a:solidFill>
              </a:rPr>
              <a:t> </a:t>
            </a:r>
            <a:r>
              <a:rPr lang="en-GB" b="1" i="1" dirty="0">
                <a:solidFill>
                  <a:schemeClr val="bg1"/>
                </a:solidFill>
              </a:rPr>
              <a:t>Daniel J. Klein</a:t>
            </a:r>
            <a:r>
              <a:rPr lang="en-GB" b="1" i="1" baseline="30000" dirty="0">
                <a:solidFill>
                  <a:schemeClr val="bg1"/>
                </a:solidFill>
              </a:rPr>
              <a:t>2</a:t>
            </a:r>
            <a:r>
              <a:rPr lang="en-GB" b="1" i="1" dirty="0">
                <a:solidFill>
                  <a:schemeClr val="bg1"/>
                </a:solidFill>
              </a:rPr>
              <a:t>, Anna Bershteyn</a:t>
            </a:r>
            <a:r>
              <a:rPr lang="en-GB" b="1" i="1" baseline="30000" dirty="0">
                <a:solidFill>
                  <a:schemeClr val="bg1"/>
                </a:solidFill>
              </a:rPr>
              <a:t>2</a:t>
            </a:r>
            <a:r>
              <a:rPr lang="en-GB" b="1" i="1" dirty="0">
                <a:solidFill>
                  <a:schemeClr val="bg1"/>
                </a:solidFill>
              </a:rPr>
              <a:t>, Katharine Kripke</a:t>
            </a:r>
            <a:r>
              <a:rPr lang="en-GB" b="1" i="1" baseline="30000" dirty="0">
                <a:solidFill>
                  <a:schemeClr val="bg1"/>
                </a:solidFill>
              </a:rPr>
              <a:t>3</a:t>
            </a:r>
            <a:r>
              <a:rPr lang="en-GB" b="1" i="1" dirty="0">
                <a:solidFill>
                  <a:schemeClr val="bg1"/>
                </a:solidFill>
              </a:rPr>
              <a:t>, Joseph Murungu</a:t>
            </a:r>
            <a:r>
              <a:rPr lang="en-GB" b="1" i="1" baseline="30000" dirty="0">
                <a:solidFill>
                  <a:schemeClr val="bg1"/>
                </a:solidFill>
              </a:rPr>
              <a:t>4</a:t>
            </a:r>
            <a:r>
              <a:rPr lang="en-GB" b="1" i="1" dirty="0">
                <a:solidFill>
                  <a:schemeClr val="bg1"/>
                </a:solidFill>
              </a:rPr>
              <a:t>, </a:t>
            </a:r>
            <a:r>
              <a:rPr lang="en-GB" b="1" i="1" dirty="0" err="1">
                <a:solidFill>
                  <a:schemeClr val="bg1"/>
                </a:solidFill>
              </a:rPr>
              <a:t>Definate</a:t>
            </a:r>
            <a:r>
              <a:rPr lang="en-GB" b="1" i="1" dirty="0">
                <a:solidFill>
                  <a:schemeClr val="bg1"/>
                </a:solidFill>
              </a:rPr>
              <a:t> Nhamo</a:t>
            </a:r>
            <a:r>
              <a:rPr lang="en-GB" b="1" i="1" baseline="30000" dirty="0">
                <a:solidFill>
                  <a:schemeClr val="bg1"/>
                </a:solidFill>
              </a:rPr>
              <a:t>4</a:t>
            </a:r>
            <a:r>
              <a:rPr lang="en-GB" b="1" dirty="0">
                <a:solidFill>
                  <a:schemeClr val="bg1"/>
                </a:solidFill>
              </a:rPr>
              <a:t>,</a:t>
            </a:r>
            <a:r>
              <a:rPr lang="en-GB" b="1" i="1" dirty="0">
                <a:solidFill>
                  <a:schemeClr val="bg1"/>
                </a:solidFill>
              </a:rPr>
              <a:t> </a:t>
            </a:r>
            <a:r>
              <a:rPr lang="en-GB" b="1" i="1" dirty="0" err="1">
                <a:solidFill>
                  <a:schemeClr val="bg1"/>
                </a:solidFill>
              </a:rPr>
              <a:t>Taurai</a:t>
            </a:r>
            <a:r>
              <a:rPr lang="en-GB" b="1" i="1" dirty="0">
                <a:solidFill>
                  <a:schemeClr val="bg1"/>
                </a:solidFill>
              </a:rPr>
              <a:t> Bhatasara</a:t>
            </a:r>
            <a:r>
              <a:rPr lang="en-GB" b="1" i="1" baseline="30000" dirty="0">
                <a:solidFill>
                  <a:schemeClr val="bg1"/>
                </a:solidFill>
              </a:rPr>
              <a:t>5</a:t>
            </a:r>
            <a:r>
              <a:rPr lang="en-GB" b="1" i="1" dirty="0">
                <a:solidFill>
                  <a:schemeClr val="bg1"/>
                </a:solidFill>
              </a:rPr>
              <a:t>, </a:t>
            </a:r>
            <a:r>
              <a:rPr lang="en-GB" b="1" i="1" dirty="0" err="1">
                <a:solidFill>
                  <a:schemeClr val="bg1"/>
                </a:solidFill>
              </a:rPr>
              <a:t>Lawrance</a:t>
            </a:r>
            <a:r>
              <a:rPr lang="en-GB" b="1" i="1" dirty="0">
                <a:solidFill>
                  <a:schemeClr val="bg1"/>
                </a:solidFill>
              </a:rPr>
              <a:t> Nyazema</a:t>
            </a:r>
            <a:r>
              <a:rPr lang="en-GB" b="1" i="1" baseline="30000" dirty="0">
                <a:solidFill>
                  <a:schemeClr val="bg1"/>
                </a:solidFill>
              </a:rPr>
              <a:t>5</a:t>
            </a:r>
            <a:r>
              <a:rPr lang="en-GB" b="1" i="1" dirty="0">
                <a:solidFill>
                  <a:schemeClr val="bg1"/>
                </a:solidFill>
              </a:rPr>
              <a:t>, </a:t>
            </a:r>
            <a:r>
              <a:rPr lang="en-GB" b="1" i="1" dirty="0" err="1">
                <a:solidFill>
                  <a:schemeClr val="bg1"/>
                </a:solidFill>
              </a:rPr>
              <a:t>Getrude</a:t>
            </a:r>
            <a:r>
              <a:rPr lang="en-GB" b="1" i="1" dirty="0">
                <a:solidFill>
                  <a:schemeClr val="bg1"/>
                </a:solidFill>
              </a:rPr>
              <a:t> Ncube</a:t>
            </a:r>
            <a:r>
              <a:rPr lang="en-GB" b="1" i="1" baseline="30000" dirty="0">
                <a:solidFill>
                  <a:schemeClr val="bg1"/>
                </a:solidFill>
              </a:rPr>
              <a:t>5</a:t>
            </a:r>
            <a:r>
              <a:rPr lang="en-GB" b="1" i="1" dirty="0">
                <a:solidFill>
                  <a:schemeClr val="bg1"/>
                </a:solidFill>
              </a:rPr>
              <a:t>, Kudakwashe Takarinda</a:t>
            </a:r>
            <a:r>
              <a:rPr lang="en-GB" b="1" i="1" baseline="30000" dirty="0">
                <a:solidFill>
                  <a:schemeClr val="bg1"/>
                </a:solidFill>
              </a:rPr>
              <a:t>5</a:t>
            </a:r>
            <a:r>
              <a:rPr lang="en-GB" b="1" i="1" dirty="0">
                <a:solidFill>
                  <a:schemeClr val="bg1"/>
                </a:solidFill>
              </a:rPr>
              <a:t>, OPTIONS Consortium</a:t>
            </a:r>
            <a:endParaRPr lang="en-US" b="1" dirty="0">
              <a:solidFill>
                <a:schemeClr val="bg1"/>
              </a:solidFill>
            </a:endParaRPr>
          </a:p>
          <a:p>
            <a:endParaRPr lang="en-GB" b="1" baseline="30000" dirty="0">
              <a:solidFill>
                <a:schemeClr val="bg1"/>
              </a:solidFill>
            </a:endParaRPr>
          </a:p>
          <a:p>
            <a:r>
              <a:rPr lang="en-GB" baseline="30000" dirty="0">
                <a:solidFill>
                  <a:schemeClr val="bg1"/>
                </a:solidFill>
              </a:rPr>
              <a:t>1</a:t>
            </a:r>
            <a:r>
              <a:rPr lang="en-GB" dirty="0">
                <a:solidFill>
                  <a:schemeClr val="bg1"/>
                </a:solidFill>
              </a:rPr>
              <a:t>Social and Mathematical Epidemiology Group, London School of Hygiene &amp; Tropical Medicine</a:t>
            </a:r>
            <a:endParaRPr lang="en-US" dirty="0">
              <a:solidFill>
                <a:schemeClr val="bg1"/>
              </a:solidFill>
            </a:endParaRPr>
          </a:p>
          <a:p>
            <a:r>
              <a:rPr lang="en-GB" baseline="30000" dirty="0">
                <a:solidFill>
                  <a:schemeClr val="bg1"/>
                </a:solidFill>
              </a:rPr>
              <a:t>2</a:t>
            </a:r>
            <a:r>
              <a:rPr lang="en-GB" dirty="0">
                <a:solidFill>
                  <a:schemeClr val="bg1"/>
                </a:solidFill>
              </a:rPr>
              <a:t>Institute for Disease </a:t>
            </a:r>
            <a:r>
              <a:rPr lang="en-GB" dirty="0" err="1">
                <a:solidFill>
                  <a:schemeClr val="bg1"/>
                </a:solidFill>
              </a:rPr>
              <a:t>Modeling</a:t>
            </a:r>
            <a:endParaRPr lang="en-US" dirty="0">
              <a:solidFill>
                <a:schemeClr val="bg1"/>
              </a:solidFill>
            </a:endParaRPr>
          </a:p>
          <a:p>
            <a:r>
              <a:rPr lang="en-GB" baseline="30000" dirty="0">
                <a:solidFill>
                  <a:schemeClr val="bg1"/>
                </a:solidFill>
              </a:rPr>
              <a:t>3</a:t>
            </a:r>
            <a:r>
              <a:rPr lang="en-GB" dirty="0">
                <a:solidFill>
                  <a:schemeClr val="bg1"/>
                </a:solidFill>
              </a:rPr>
              <a:t>Avenir Health</a:t>
            </a:r>
            <a:endParaRPr lang="en-US" dirty="0">
              <a:solidFill>
                <a:schemeClr val="bg1"/>
              </a:solidFill>
            </a:endParaRPr>
          </a:p>
          <a:p>
            <a:r>
              <a:rPr lang="en-GB" baseline="30000" dirty="0">
                <a:solidFill>
                  <a:schemeClr val="bg1"/>
                </a:solidFill>
              </a:rPr>
              <a:t>4</a:t>
            </a:r>
            <a:r>
              <a:rPr lang="en-GB" dirty="0">
                <a:solidFill>
                  <a:schemeClr val="bg1"/>
                </a:solidFill>
              </a:rPr>
              <a:t>Pangaea Zimbabwe</a:t>
            </a:r>
          </a:p>
          <a:p>
            <a:r>
              <a:rPr lang="en-GB" baseline="30000" dirty="0">
                <a:solidFill>
                  <a:schemeClr val="bg1"/>
                </a:solidFill>
              </a:rPr>
              <a:t>5</a:t>
            </a:r>
            <a:r>
              <a:rPr lang="en-GB" dirty="0">
                <a:solidFill>
                  <a:schemeClr val="bg1"/>
                </a:solidFill>
              </a:rPr>
              <a:t>Ministry of Health and Child Care Zimbabwe</a:t>
            </a:r>
          </a:p>
          <a:p>
            <a:endParaRPr lang="en-US" dirty="0">
              <a:solidFill>
                <a:schemeClr val="bg1"/>
              </a:solidFill>
            </a:endParaRPr>
          </a:p>
          <a:p>
            <a:pPr lvl="0"/>
            <a:r>
              <a:rPr lang="en-US" b="1" i="1" spc="150" dirty="0">
                <a:solidFill>
                  <a:schemeClr val="bg1"/>
                </a:solidFill>
                <a:cs typeface="Calibri"/>
              </a:rPr>
              <a:t>April 2018</a:t>
            </a:r>
          </a:p>
        </p:txBody>
      </p:sp>
      <p:sp>
        <p:nvSpPr>
          <p:cNvPr id="5" name="TextBox 4"/>
          <p:cNvSpPr txBox="1"/>
          <p:nvPr/>
        </p:nvSpPr>
        <p:spPr>
          <a:xfrm>
            <a:off x="2851615" y="224382"/>
            <a:ext cx="4261704" cy="584775"/>
          </a:xfrm>
          <a:prstGeom prst="rect">
            <a:avLst/>
          </a:prstGeom>
          <a:noFill/>
        </p:spPr>
        <p:txBody>
          <a:bodyPr wrap="square" rtlCol="0">
            <a:spAutoFit/>
          </a:bodyPr>
          <a:lstStyle/>
          <a:p>
            <a:pPr lvl="0"/>
            <a:r>
              <a:rPr lang="en-US" sz="1600" b="1" i="1" spc="150" dirty="0">
                <a:solidFill>
                  <a:schemeClr val="bg1"/>
                </a:solidFill>
                <a:latin typeface="Gill Sans MT" panose="020B0502020104020203" pitchFamily="34" charset="0"/>
                <a:cs typeface="Calibri"/>
              </a:rPr>
              <a:t>Optimizing Prevention Technology Introduction On Schedul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57200" y="2547938"/>
            <a:ext cx="8229600" cy="739775"/>
          </a:xfrm>
          <a:prstGeom prst="rect">
            <a:avLst/>
          </a:prstGeom>
        </p:spPr>
        <p:txBody>
          <a:bodyPr/>
          <a:lstStyle/>
          <a:p>
            <a:pPr algn="ctr"/>
            <a:r>
              <a:rPr lang="en-US" sz="4400" b="1" dirty="0">
                <a:solidFill>
                  <a:schemeClr val="tx1"/>
                </a:solidFill>
              </a:rPr>
              <a:t>Introducing EMOD-HIV</a:t>
            </a:r>
          </a:p>
        </p:txBody>
      </p:sp>
    </p:spTree>
    <p:extLst>
      <p:ext uri="{BB962C8B-B14F-4D97-AF65-F5344CB8AC3E}">
        <p14:creationId xmlns:p14="http://schemas.microsoft.com/office/powerpoint/2010/main" val="112203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txBox="1">
            <a:spLocks/>
          </p:cNvSpPr>
          <p:nvPr/>
        </p:nvSpPr>
        <p:spPr>
          <a:xfrm>
            <a:off x="74095" y="99009"/>
            <a:ext cx="8229600" cy="764684"/>
          </a:xfrm>
          <a:prstGeom prst="rect">
            <a:avLst/>
          </a:prstGeom>
        </p:spPr>
        <p:txBody>
          <a:bodyPr vert="horz" lIns="91440" tIns="45720" rIns="91440" bIns="45720" rtlCol="0" anchor="ctr">
            <a:norm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600" i="0" u="none" strike="noStrike" kern="1200" cap="none" spc="0" normalizeH="0" baseline="0" noProof="0" dirty="0">
                <a:ln>
                  <a:noFill/>
                </a:ln>
                <a:effectLst/>
                <a:uLnTx/>
                <a:uFillTx/>
                <a:latin typeface="Calibri"/>
                <a:ea typeface="+mn-ea"/>
                <a:cs typeface="Arial Black"/>
              </a:rPr>
              <a:t>EMOD-HIV model overview</a:t>
            </a:r>
          </a:p>
        </p:txBody>
      </p:sp>
      <p:sp>
        <p:nvSpPr>
          <p:cNvPr id="5" name="Text Placeholder 2"/>
          <p:cNvSpPr txBox="1">
            <a:spLocks/>
          </p:cNvSpPr>
          <p:nvPr/>
        </p:nvSpPr>
        <p:spPr>
          <a:xfrm>
            <a:off x="74095" y="1064075"/>
            <a:ext cx="6096511" cy="4775092"/>
          </a:xfrm>
          <a:prstGeom prst="rect">
            <a:avLst/>
          </a:prstGeom>
        </p:spPr>
        <p:txBody>
          <a:body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Created by the Institute</a:t>
            </a:r>
            <a:r>
              <a:rPr kumimoji="0" lang="en-US" sz="2400" b="0" i="0" u="none" strike="noStrike" kern="1200" cap="none" spc="0" normalizeH="0" noProof="0" dirty="0">
                <a:ln>
                  <a:noFill/>
                </a:ln>
                <a:solidFill>
                  <a:schemeClr val="tx1">
                    <a:lumMod val="65000"/>
                    <a:lumOff val="35000"/>
                  </a:schemeClr>
                </a:solidFill>
                <a:effectLst/>
                <a:uLnTx/>
                <a:uFillTx/>
                <a:latin typeface="Calibri"/>
                <a:ea typeface="+mn-ea"/>
                <a:cs typeface="+mn-cs"/>
              </a:rPr>
              <a:t> for Disease Modeling (IDM)</a:t>
            </a:r>
            <a:endPar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Individual-based network model</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Dynamic network of relationship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Heterosexual transmission from coital act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Highly configurable interventions</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Treatment and prevention cascades, targeting</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Calibrated using curve fitting algorithm</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Publicly available at </a:t>
            </a:r>
            <a:r>
              <a:rPr kumimoji="0" lang="en-US" sz="2400" b="0" i="0" u="none" strike="noStrike" kern="1200" cap="none" spc="0" normalizeH="0" baseline="0" noProof="0" dirty="0">
                <a:ln>
                  <a:noFill/>
                </a:ln>
                <a:effectLst/>
                <a:uLnTx/>
                <a:uFillTx/>
                <a:latin typeface="Calibri"/>
                <a:ea typeface="+mn-ea"/>
                <a:cs typeface="+mn-cs"/>
                <a:hlinkClick r:id="rId2"/>
              </a:rPr>
              <a:t>idmod.org</a:t>
            </a:r>
            <a:r>
              <a:rPr kumimoji="0" lang="en-US" sz="2400" b="0" i="0" u="none" strike="noStrike" kern="1200" cap="none" spc="0" normalizeH="0" baseline="0" noProof="0" dirty="0">
                <a:ln>
                  <a:noFill/>
                </a:ln>
                <a:effectLst/>
                <a:uLnTx/>
                <a:uFillTx/>
                <a:latin typeface="Calibri"/>
                <a:ea typeface="+mn-ea"/>
                <a:cs typeface="+mn-cs"/>
              </a:rPr>
              <a:t>, </a:t>
            </a:r>
            <a:r>
              <a:rPr kumimoji="0" lang="en-US" sz="2400" b="0" i="0" u="none" strike="noStrike" kern="1200" cap="none" spc="0" normalizeH="0" baseline="0" noProof="0" dirty="0" err="1">
                <a:ln>
                  <a:noFill/>
                </a:ln>
                <a:effectLst/>
                <a:uLnTx/>
                <a:uFillTx/>
                <a:latin typeface="Calibri"/>
                <a:ea typeface="+mn-ea"/>
                <a:cs typeface="+mn-cs"/>
                <a:hlinkClick r:id="rId3"/>
              </a:rPr>
              <a:t>GitHub</a:t>
            </a:r>
            <a:endParaRPr kumimoji="0" lang="en-US" sz="2400" b="0" i="0" u="none" strike="noStrike" kern="1200" cap="none" spc="0" normalizeH="0" baseline="0" noProof="0" dirty="0">
              <a:ln>
                <a:noFill/>
              </a:ln>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600" b="0" i="0" u="none" strike="noStrike" kern="1200" cap="none" spc="0" normalizeH="0" baseline="0" noProof="0" dirty="0">
              <a:ln>
                <a:noFill/>
              </a:ln>
              <a:effectLst/>
              <a:uLnTx/>
              <a:uFillTx/>
              <a:latin typeface="Calibri"/>
              <a:ea typeface="+mn-ea"/>
              <a:cs typeface="+mn-cs"/>
            </a:endParaRPr>
          </a:p>
        </p:txBody>
      </p:sp>
      <p:cxnSp>
        <p:nvCxnSpPr>
          <p:cNvPr id="6" name="Straight Connector 5"/>
          <p:cNvCxnSpPr>
            <a:stCxn id="106" idx="2"/>
            <a:endCxn id="85" idx="2"/>
          </p:cNvCxnSpPr>
          <p:nvPr/>
        </p:nvCxnSpPr>
        <p:spPr>
          <a:xfrm>
            <a:off x="6339226" y="3868763"/>
            <a:ext cx="1460999" cy="483556"/>
          </a:xfrm>
          <a:prstGeom prst="line">
            <a:avLst/>
          </a:prstGeom>
          <a:ln w="571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57" idx="2"/>
            <a:endCxn id="106" idx="2"/>
          </p:cNvCxnSpPr>
          <p:nvPr/>
        </p:nvCxnSpPr>
        <p:spPr>
          <a:xfrm flipH="1">
            <a:off x="6339226" y="3571575"/>
            <a:ext cx="1397426" cy="297188"/>
          </a:xfrm>
          <a:prstGeom prst="line">
            <a:avLst/>
          </a:prstGeom>
          <a:ln w="571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7619837" y="5071640"/>
            <a:ext cx="880599" cy="199847"/>
          </a:xfrm>
          <a:prstGeom prst="line">
            <a:avLst/>
          </a:prstGeom>
          <a:ln w="571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flipV="1">
            <a:off x="6955576" y="2476502"/>
            <a:ext cx="1164662" cy="516846"/>
          </a:xfrm>
          <a:prstGeom prst="line">
            <a:avLst/>
          </a:prstGeom>
          <a:ln w="571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8198355" y="1146484"/>
            <a:ext cx="241454" cy="633998"/>
          </a:xfrm>
          <a:prstGeom prst="line">
            <a:avLst/>
          </a:prstGeom>
          <a:ln w="571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7601821" y="1780482"/>
            <a:ext cx="823785" cy="172282"/>
          </a:xfrm>
          <a:prstGeom prst="line">
            <a:avLst/>
          </a:prstGeom>
          <a:ln w="5715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7126014" y="1249853"/>
            <a:ext cx="504214" cy="723584"/>
          </a:xfrm>
          <a:prstGeom prst="line">
            <a:avLst/>
          </a:prstGeom>
          <a:ln w="5715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8402636" y="3432061"/>
            <a:ext cx="173991" cy="507738"/>
            <a:chOff x="8104515" y="2027208"/>
            <a:chExt cx="448575" cy="1110032"/>
          </a:xfrm>
        </p:grpSpPr>
        <p:sp>
          <p:nvSpPr>
            <p:cNvPr id="14" name="Oval 13"/>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ound Same Side Corner Rectangle 14"/>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ound Same Side Corner Rectangle 15"/>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Round Same Side Corner Rectangle 16"/>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Round Same Side Corner Rectangle 17"/>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Round Same Side Corner Rectangle 18"/>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0" name="Group 19"/>
          <p:cNvGrpSpPr/>
          <p:nvPr/>
        </p:nvGrpSpPr>
        <p:grpSpPr>
          <a:xfrm>
            <a:off x="8413778" y="4870971"/>
            <a:ext cx="173991" cy="507738"/>
            <a:chOff x="8104515" y="2027208"/>
            <a:chExt cx="448575" cy="1110032"/>
          </a:xfrm>
        </p:grpSpPr>
        <p:sp>
          <p:nvSpPr>
            <p:cNvPr id="21" name="Oval 20"/>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Round Same Side Corner Rectangle 21"/>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Round Same Side Corner Rectangle 22"/>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Round Same Side Corner Rectangle 23"/>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Round Same Side Corner Rectangle 24"/>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Round Same Side Corner Rectangle 25"/>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7" name="Group 26"/>
          <p:cNvGrpSpPr/>
          <p:nvPr/>
        </p:nvGrpSpPr>
        <p:grpSpPr>
          <a:xfrm>
            <a:off x="7036951" y="1064075"/>
            <a:ext cx="173991" cy="507738"/>
            <a:chOff x="8104515" y="2027208"/>
            <a:chExt cx="448575" cy="1110032"/>
          </a:xfrm>
        </p:grpSpPr>
        <p:sp>
          <p:nvSpPr>
            <p:cNvPr id="28" name="Oval 27"/>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Round Same Side Corner Rectangle 28"/>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0" name="Round Same Side Corner Rectangle 29"/>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Round Same Side Corner Rectangle 30"/>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Round Same Side Corner Rectangle 31"/>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Round Same Side Corner Rectangle 32"/>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4" name="Group 33"/>
          <p:cNvGrpSpPr/>
          <p:nvPr/>
        </p:nvGrpSpPr>
        <p:grpSpPr>
          <a:xfrm>
            <a:off x="6869798" y="2266454"/>
            <a:ext cx="173991" cy="507738"/>
            <a:chOff x="8104515" y="2027208"/>
            <a:chExt cx="448575" cy="1110032"/>
          </a:xfrm>
          <a:solidFill>
            <a:srgbClr val="FF0000"/>
          </a:solidFill>
        </p:grpSpPr>
        <p:sp>
          <p:nvSpPr>
            <p:cNvPr id="35" name="Oval 34"/>
            <p:cNvSpPr/>
            <p:nvPr/>
          </p:nvSpPr>
          <p:spPr>
            <a:xfrm>
              <a:off x="8229600" y="2027208"/>
              <a:ext cx="198407" cy="198407"/>
            </a:xfrm>
            <a:prstGeom prst="ellipse">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Round Same Side Corner Rectangle 35"/>
            <p:cNvSpPr/>
            <p:nvPr/>
          </p:nvSpPr>
          <p:spPr>
            <a:xfrm>
              <a:off x="8184310" y="2238940"/>
              <a:ext cx="288985" cy="400744"/>
            </a:xfrm>
            <a:prstGeom prst="round2SameRect">
              <a:avLst>
                <a:gd name="adj1" fmla="val 0"/>
                <a:gd name="adj2" fmla="val 0"/>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Round Same Side Corner Rectangle 36"/>
            <p:cNvSpPr/>
            <p:nvPr/>
          </p:nvSpPr>
          <p:spPr>
            <a:xfrm rot="10800000">
              <a:off x="8184309" y="2662787"/>
              <a:ext cx="105675" cy="474453"/>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Round Same Side Corner Rectangle 37"/>
            <p:cNvSpPr/>
            <p:nvPr/>
          </p:nvSpPr>
          <p:spPr>
            <a:xfrm rot="10800000">
              <a:off x="8367620" y="2662787"/>
              <a:ext cx="105675" cy="474453"/>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Round Same Side Corner Rectangle 38"/>
            <p:cNvSpPr/>
            <p:nvPr/>
          </p:nvSpPr>
          <p:spPr>
            <a:xfrm rot="10800000">
              <a:off x="8104515" y="2238940"/>
              <a:ext cx="60384" cy="472060"/>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Round Same Side Corner Rectangle 39"/>
            <p:cNvSpPr/>
            <p:nvPr/>
          </p:nvSpPr>
          <p:spPr>
            <a:xfrm rot="10800000">
              <a:off x="8492706" y="2238940"/>
              <a:ext cx="60384" cy="472060"/>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41" name="Group 40"/>
          <p:cNvGrpSpPr/>
          <p:nvPr/>
        </p:nvGrpSpPr>
        <p:grpSpPr>
          <a:xfrm>
            <a:off x="6244702" y="1571813"/>
            <a:ext cx="173991" cy="507738"/>
            <a:chOff x="8104515" y="2027208"/>
            <a:chExt cx="448575" cy="1110032"/>
          </a:xfrm>
        </p:grpSpPr>
        <p:sp>
          <p:nvSpPr>
            <p:cNvPr id="42" name="Oval 41"/>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Round Same Side Corner Rectangle 42"/>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Round Same Side Corner Rectangle 43"/>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Round Same Side Corner Rectangle 44"/>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Round Same Side Corner Rectangle 45"/>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Round Same Side Corner Rectangle 46"/>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48" name="Group 47"/>
          <p:cNvGrpSpPr/>
          <p:nvPr/>
        </p:nvGrpSpPr>
        <p:grpSpPr>
          <a:xfrm>
            <a:off x="8106625" y="930925"/>
            <a:ext cx="173991" cy="507738"/>
            <a:chOff x="8104515" y="2027208"/>
            <a:chExt cx="448575" cy="1110032"/>
          </a:xfrm>
        </p:grpSpPr>
        <p:sp>
          <p:nvSpPr>
            <p:cNvPr id="49" name="Oval 48"/>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Round Same Side Corner Rectangle 49"/>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Round Same Side Corner Rectangle 50"/>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2" name="Round Same Side Corner Rectangle 51"/>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Round Same Side Corner Rectangle 52"/>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Round Same Side Corner Rectangle 53"/>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55" name="Group 54"/>
          <p:cNvGrpSpPr/>
          <p:nvPr/>
        </p:nvGrpSpPr>
        <p:grpSpPr>
          <a:xfrm>
            <a:off x="7705702" y="3383075"/>
            <a:ext cx="173991" cy="507738"/>
            <a:chOff x="8104515" y="2027208"/>
            <a:chExt cx="448575" cy="1110032"/>
          </a:xfrm>
        </p:grpSpPr>
        <p:sp>
          <p:nvSpPr>
            <p:cNvPr id="56" name="Oval 55"/>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Round Same Side Corner Rectangle 56"/>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8" name="Round Same Side Corner Rectangle 57"/>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9" name="Round Same Side Corner Rectangle 58"/>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Round Same Side Corner Rectangle 59"/>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1" name="Round Same Side Corner Rectangle 60"/>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62" name="Group 61"/>
          <p:cNvGrpSpPr/>
          <p:nvPr/>
        </p:nvGrpSpPr>
        <p:grpSpPr>
          <a:xfrm>
            <a:off x="8586942" y="2557094"/>
            <a:ext cx="173991" cy="507738"/>
            <a:chOff x="8104515" y="2027208"/>
            <a:chExt cx="448575" cy="1110032"/>
          </a:xfrm>
        </p:grpSpPr>
        <p:sp>
          <p:nvSpPr>
            <p:cNvPr id="63" name="Oval 62"/>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4" name="Round Same Side Corner Rectangle 63"/>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5" name="Round Same Side Corner Rectangle 64"/>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Round Same Side Corner Rectangle 65"/>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7" name="Round Same Side Corner Rectangle 66"/>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8" name="Round Same Side Corner Rectangle 67"/>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69" name="Group 68"/>
          <p:cNvGrpSpPr/>
          <p:nvPr/>
        </p:nvGrpSpPr>
        <p:grpSpPr>
          <a:xfrm>
            <a:off x="7528785" y="5065937"/>
            <a:ext cx="173991" cy="507738"/>
            <a:chOff x="8104515" y="2027208"/>
            <a:chExt cx="448575" cy="1110032"/>
          </a:xfrm>
        </p:grpSpPr>
        <p:sp>
          <p:nvSpPr>
            <p:cNvPr id="70" name="Oval 69"/>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1" name="Round Same Side Corner Rectangle 70"/>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2" name="Round Same Side Corner Rectangle 71"/>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3" name="Round Same Side Corner Rectangle 72"/>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4" name="Round Same Side Corner Rectangle 73"/>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5" name="Round Same Side Corner Rectangle 74"/>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76" name="Group 75"/>
          <p:cNvGrpSpPr/>
          <p:nvPr/>
        </p:nvGrpSpPr>
        <p:grpSpPr>
          <a:xfrm>
            <a:off x="8019630" y="2784680"/>
            <a:ext cx="173991" cy="507738"/>
            <a:chOff x="8104515" y="2027208"/>
            <a:chExt cx="448575" cy="1110032"/>
          </a:xfrm>
        </p:grpSpPr>
        <p:sp>
          <p:nvSpPr>
            <p:cNvPr id="77" name="Oval 76"/>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8" name="Round Same Side Corner Rectangle 77"/>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9" name="Round Same Side Corner Rectangle 78"/>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0" name="Round Same Side Corner Rectangle 79"/>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Round Same Side Corner Rectangle 80"/>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Round Same Side Corner Rectangle 81"/>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83" name="Group 82"/>
          <p:cNvGrpSpPr/>
          <p:nvPr/>
        </p:nvGrpSpPr>
        <p:grpSpPr>
          <a:xfrm>
            <a:off x="7769275" y="4163819"/>
            <a:ext cx="173991" cy="507738"/>
            <a:chOff x="8104515" y="2027208"/>
            <a:chExt cx="448575" cy="1110032"/>
          </a:xfrm>
        </p:grpSpPr>
        <p:sp>
          <p:nvSpPr>
            <p:cNvPr id="84" name="Oval 83"/>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Round Same Side Corner Rectangle 84"/>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6" name="Round Same Side Corner Rectangle 85"/>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Round Same Side Corner Rectangle 86"/>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8" name="Round Same Side Corner Rectangle 87"/>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9" name="Round Same Side Corner Rectangle 88"/>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90" name="Group 89"/>
          <p:cNvGrpSpPr/>
          <p:nvPr/>
        </p:nvGrpSpPr>
        <p:grpSpPr>
          <a:xfrm>
            <a:off x="7517785" y="1737204"/>
            <a:ext cx="173991" cy="507738"/>
            <a:chOff x="8104515" y="2027208"/>
            <a:chExt cx="448575" cy="1110032"/>
          </a:xfrm>
        </p:grpSpPr>
        <p:sp>
          <p:nvSpPr>
            <p:cNvPr id="91" name="Oval 90"/>
            <p:cNvSpPr/>
            <p:nvPr/>
          </p:nvSpPr>
          <p:spPr>
            <a:xfrm>
              <a:off x="8229600" y="2027208"/>
              <a:ext cx="198407" cy="198407"/>
            </a:xfrm>
            <a:prstGeom prst="ellipse">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2" name="Round Same Side Corner Rectangle 91"/>
            <p:cNvSpPr/>
            <p:nvPr/>
          </p:nvSpPr>
          <p:spPr>
            <a:xfrm>
              <a:off x="8184310" y="2238940"/>
              <a:ext cx="288985" cy="400744"/>
            </a:xfrm>
            <a:prstGeom prst="round2SameRect">
              <a:avLst>
                <a:gd name="adj1" fmla="val 0"/>
                <a:gd name="adj2" fmla="val 0"/>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3" name="Round Same Side Corner Rectangle 92"/>
            <p:cNvSpPr/>
            <p:nvPr/>
          </p:nvSpPr>
          <p:spPr>
            <a:xfrm rot="10800000">
              <a:off x="8184309"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Round Same Side Corner Rectangle 93"/>
            <p:cNvSpPr/>
            <p:nvPr/>
          </p:nvSpPr>
          <p:spPr>
            <a:xfrm rot="10800000">
              <a:off x="8367620" y="2662787"/>
              <a:ext cx="105675" cy="474453"/>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5" name="Round Same Side Corner Rectangle 94"/>
            <p:cNvSpPr/>
            <p:nvPr/>
          </p:nvSpPr>
          <p:spPr>
            <a:xfrm rot="10800000">
              <a:off x="8104515"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6" name="Round Same Side Corner Rectangle 95"/>
            <p:cNvSpPr/>
            <p:nvPr/>
          </p:nvSpPr>
          <p:spPr>
            <a:xfrm rot="10800000">
              <a:off x="8492706" y="2238940"/>
              <a:ext cx="60384" cy="472060"/>
            </a:xfrm>
            <a:prstGeom prst="round2SameRect">
              <a:avLst/>
            </a:prstGeom>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97" name="Group 96"/>
          <p:cNvGrpSpPr/>
          <p:nvPr/>
        </p:nvGrpSpPr>
        <p:grpSpPr>
          <a:xfrm>
            <a:off x="8343744" y="1581355"/>
            <a:ext cx="173991" cy="507738"/>
            <a:chOff x="8104515" y="2027208"/>
            <a:chExt cx="448575" cy="1110032"/>
          </a:xfrm>
          <a:solidFill>
            <a:srgbClr val="FF0000"/>
          </a:solidFill>
        </p:grpSpPr>
        <p:sp>
          <p:nvSpPr>
            <p:cNvPr id="98" name="Oval 97"/>
            <p:cNvSpPr/>
            <p:nvPr/>
          </p:nvSpPr>
          <p:spPr>
            <a:xfrm>
              <a:off x="8229600" y="2027208"/>
              <a:ext cx="198407" cy="198407"/>
            </a:xfrm>
            <a:prstGeom prst="ellipse">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9" name="Round Same Side Corner Rectangle 98"/>
            <p:cNvSpPr/>
            <p:nvPr/>
          </p:nvSpPr>
          <p:spPr>
            <a:xfrm>
              <a:off x="8184310" y="2238940"/>
              <a:ext cx="288985" cy="400744"/>
            </a:xfrm>
            <a:prstGeom prst="round2SameRect">
              <a:avLst>
                <a:gd name="adj1" fmla="val 0"/>
                <a:gd name="adj2" fmla="val 0"/>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0" name="Round Same Side Corner Rectangle 99"/>
            <p:cNvSpPr/>
            <p:nvPr/>
          </p:nvSpPr>
          <p:spPr>
            <a:xfrm rot="10800000">
              <a:off x="8184309" y="2662787"/>
              <a:ext cx="105675" cy="474453"/>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1" name="Round Same Side Corner Rectangle 100"/>
            <p:cNvSpPr/>
            <p:nvPr/>
          </p:nvSpPr>
          <p:spPr>
            <a:xfrm rot="10800000">
              <a:off x="8367620" y="2662787"/>
              <a:ext cx="105675" cy="474453"/>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2" name="Round Same Side Corner Rectangle 101"/>
            <p:cNvSpPr/>
            <p:nvPr/>
          </p:nvSpPr>
          <p:spPr>
            <a:xfrm rot="10800000">
              <a:off x="8104515" y="2238940"/>
              <a:ext cx="60384" cy="472060"/>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3" name="Round Same Side Corner Rectangle 102"/>
            <p:cNvSpPr/>
            <p:nvPr/>
          </p:nvSpPr>
          <p:spPr>
            <a:xfrm rot="10800000">
              <a:off x="8492706" y="2238940"/>
              <a:ext cx="60384" cy="472060"/>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04" name="Group 103"/>
          <p:cNvGrpSpPr/>
          <p:nvPr/>
        </p:nvGrpSpPr>
        <p:grpSpPr>
          <a:xfrm>
            <a:off x="6308276" y="3680263"/>
            <a:ext cx="173991" cy="507738"/>
            <a:chOff x="8104515" y="2027208"/>
            <a:chExt cx="448575" cy="1110032"/>
          </a:xfrm>
          <a:solidFill>
            <a:srgbClr val="FF0000"/>
          </a:solidFill>
        </p:grpSpPr>
        <p:sp>
          <p:nvSpPr>
            <p:cNvPr id="105" name="Oval 104"/>
            <p:cNvSpPr/>
            <p:nvPr/>
          </p:nvSpPr>
          <p:spPr>
            <a:xfrm>
              <a:off x="8229600" y="2027208"/>
              <a:ext cx="198407" cy="198407"/>
            </a:xfrm>
            <a:prstGeom prst="ellipse">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6" name="Round Same Side Corner Rectangle 105"/>
            <p:cNvSpPr/>
            <p:nvPr/>
          </p:nvSpPr>
          <p:spPr>
            <a:xfrm>
              <a:off x="8184310" y="2238940"/>
              <a:ext cx="288985" cy="400744"/>
            </a:xfrm>
            <a:prstGeom prst="round2SameRect">
              <a:avLst>
                <a:gd name="adj1" fmla="val 0"/>
                <a:gd name="adj2" fmla="val 0"/>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7" name="Round Same Side Corner Rectangle 106"/>
            <p:cNvSpPr/>
            <p:nvPr/>
          </p:nvSpPr>
          <p:spPr>
            <a:xfrm rot="10800000">
              <a:off x="8184309" y="2662787"/>
              <a:ext cx="105675" cy="474453"/>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8" name="Round Same Side Corner Rectangle 107"/>
            <p:cNvSpPr/>
            <p:nvPr/>
          </p:nvSpPr>
          <p:spPr>
            <a:xfrm rot="10800000">
              <a:off x="8367620" y="2662787"/>
              <a:ext cx="105675" cy="474453"/>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9" name="Round Same Side Corner Rectangle 108"/>
            <p:cNvSpPr/>
            <p:nvPr/>
          </p:nvSpPr>
          <p:spPr>
            <a:xfrm rot="10800000">
              <a:off x="8104515" y="2238940"/>
              <a:ext cx="60384" cy="472060"/>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0" name="Round Same Side Corner Rectangle 109"/>
            <p:cNvSpPr/>
            <p:nvPr/>
          </p:nvSpPr>
          <p:spPr>
            <a:xfrm rot="10800000">
              <a:off x="8492706" y="2238940"/>
              <a:ext cx="60384" cy="472060"/>
            </a:xfrm>
            <a:prstGeom prst="round2SameRect">
              <a:avLst/>
            </a:prstGeom>
            <a:grp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3861811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04196" y="122712"/>
            <a:ext cx="8229600" cy="739775"/>
          </a:xfrm>
          <a:prstGeom prst="rect">
            <a:avLst/>
          </a:prstGeom>
        </p:spPr>
        <p:txBody>
          <a:bodyPr/>
          <a:lstStyle/>
          <a:p>
            <a:r>
              <a:rPr lang="en-US" sz="3600" dirty="0">
                <a:solidFill>
                  <a:schemeClr val="tx1"/>
                </a:solidFill>
              </a:rPr>
              <a:t>EMOD-HIV model components</a:t>
            </a:r>
          </a:p>
        </p:txBody>
      </p:sp>
      <p:sp>
        <p:nvSpPr>
          <p:cNvPr id="6" name="Rectangle 5"/>
          <p:cNvSpPr/>
          <p:nvPr/>
        </p:nvSpPr>
        <p:spPr>
          <a:xfrm>
            <a:off x="76200" y="5858410"/>
            <a:ext cx="8915400" cy="5898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33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pic>
        <p:nvPicPr>
          <p:cNvPr id="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2488" y="1431821"/>
            <a:ext cx="3373400" cy="1927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196" y="4368754"/>
            <a:ext cx="4711130" cy="2065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7598" y="4081419"/>
            <a:ext cx="3108868" cy="2375215"/>
          </a:xfrm>
          <a:prstGeom prst="rect">
            <a:avLst/>
          </a:prstGeom>
        </p:spPr>
      </p:pic>
      <p:pic>
        <p:nvPicPr>
          <p:cNvPr id="14" name="Picture 2" descr="https://upload.wikimedia.org/wikipedia/commons/thumb/e/e6/South_Africa_Population_Pyramid_2011_estimates.png/1024px-South_Africa_Population_Pyramid_2011_estimates.png"/>
          <p:cNvPicPr>
            <a:picLocks noChangeAspect="1" noChangeArrowheads="1"/>
          </p:cNvPicPr>
          <p:nvPr/>
        </p:nvPicPr>
        <p:blipFill>
          <a:blip r:embed="rId6" cstate="print">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92244" y="1437917"/>
            <a:ext cx="2590801" cy="193999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620045" y="3356992"/>
            <a:ext cx="3200400" cy="261610"/>
          </a:xfrm>
          <a:prstGeom prst="rect">
            <a:avLst/>
          </a:prstGeom>
        </p:spPr>
        <p:txBody>
          <a:bodyPr wrap="square">
            <a:spAutoFit/>
          </a:bodyPr>
          <a:lstStyle/>
          <a:p>
            <a:pPr marL="0" marR="0" lvl="0" indent="0" algn="l" defTabSz="81633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Calibri"/>
                <a:ea typeface="+mn-ea"/>
                <a:cs typeface="+mn-cs"/>
              </a:rPr>
              <a:t>"South Africa Population Pyramid 2011 estimates" </a:t>
            </a:r>
            <a:br>
              <a:rPr kumimoji="0" lang="en-US" sz="500" b="0" i="0" u="none" strike="noStrike" kern="1200" cap="none" spc="0" normalizeH="0" baseline="0" noProof="0" dirty="0">
                <a:ln>
                  <a:noFill/>
                </a:ln>
                <a:solidFill>
                  <a:prstClr val="black"/>
                </a:solidFill>
                <a:effectLst/>
                <a:uLnTx/>
                <a:uFillTx/>
                <a:latin typeface="Calibri"/>
                <a:ea typeface="+mn-ea"/>
                <a:cs typeface="+mn-cs"/>
              </a:rPr>
            </a:br>
            <a:r>
              <a:rPr kumimoji="0" lang="en-US" sz="500" b="0" i="0" u="none" strike="noStrike" kern="1200" cap="none" spc="0" normalizeH="0" baseline="0" noProof="0" dirty="0">
                <a:ln>
                  <a:noFill/>
                </a:ln>
                <a:solidFill>
                  <a:prstClr val="black"/>
                </a:solidFill>
                <a:effectLst/>
                <a:uLnTx/>
                <a:uFillTx/>
                <a:latin typeface="Calibri"/>
                <a:ea typeface="+mn-ea"/>
                <a:cs typeface="+mn-cs"/>
              </a:rPr>
              <a:t>by Underlying </a:t>
            </a:r>
            <a:r>
              <a:rPr kumimoji="0" lang="en-US" sz="500" b="0" i="0" u="none" strike="noStrike" kern="1200" cap="none" spc="0" normalizeH="0" baseline="0" noProof="0" dirty="0" err="1">
                <a:ln>
                  <a:noFill/>
                </a:ln>
                <a:solidFill>
                  <a:prstClr val="black"/>
                </a:solidFill>
                <a:effectLst/>
                <a:uLnTx/>
                <a:uFillTx/>
                <a:latin typeface="Calibri"/>
                <a:ea typeface="+mn-ea"/>
                <a:cs typeface="+mn-cs"/>
              </a:rPr>
              <a:t>lk</a:t>
            </a:r>
            <a:r>
              <a:rPr kumimoji="0" lang="en-US" sz="500" b="0" i="0" u="none" strike="noStrike" kern="1200" cap="none" spc="0" normalizeH="0" baseline="0" noProof="0" dirty="0">
                <a:ln>
                  <a:noFill/>
                </a:ln>
                <a:solidFill>
                  <a:prstClr val="black"/>
                </a:solidFill>
                <a:effectLst/>
                <a:uLnTx/>
                <a:uFillTx/>
                <a:latin typeface="Calibri"/>
                <a:ea typeface="+mn-ea"/>
                <a:cs typeface="+mn-cs"/>
              </a:rPr>
              <a:t> - Own work. Licensed under CC0 via Commons.</a:t>
            </a:r>
          </a:p>
        </p:txBody>
      </p:sp>
      <p:sp>
        <p:nvSpPr>
          <p:cNvPr id="17" name="TextBox 16"/>
          <p:cNvSpPr txBox="1"/>
          <p:nvPr/>
        </p:nvSpPr>
        <p:spPr>
          <a:xfrm>
            <a:off x="711485" y="813590"/>
            <a:ext cx="2572756" cy="584775"/>
          </a:xfrm>
          <a:prstGeom prst="rect">
            <a:avLst/>
          </a:prstGeom>
          <a:noFill/>
        </p:spPr>
        <p:txBody>
          <a:bodyPr wrap="none" rtlCol="0">
            <a:spAutoFit/>
          </a:bodyPr>
          <a:lstStyle/>
          <a:p>
            <a:r>
              <a:rPr lang="en-US" sz="3200" dirty="0"/>
              <a:t>Demographics</a:t>
            </a:r>
          </a:p>
        </p:txBody>
      </p:sp>
      <p:sp>
        <p:nvSpPr>
          <p:cNvPr id="18" name="TextBox 17"/>
          <p:cNvSpPr txBox="1"/>
          <p:nvPr/>
        </p:nvSpPr>
        <p:spPr>
          <a:xfrm>
            <a:off x="4217291" y="812836"/>
            <a:ext cx="4723794" cy="584775"/>
          </a:xfrm>
          <a:prstGeom prst="rect">
            <a:avLst/>
          </a:prstGeom>
          <a:noFill/>
        </p:spPr>
        <p:txBody>
          <a:bodyPr wrap="none" rtlCol="0">
            <a:spAutoFit/>
          </a:bodyPr>
          <a:lstStyle/>
          <a:p>
            <a:r>
              <a:rPr lang="en-US" sz="3200" dirty="0"/>
              <a:t>Sexual Behavior &amp; Network</a:t>
            </a:r>
          </a:p>
        </p:txBody>
      </p:sp>
      <p:sp>
        <p:nvSpPr>
          <p:cNvPr id="19" name="TextBox 18"/>
          <p:cNvSpPr txBox="1"/>
          <p:nvPr/>
        </p:nvSpPr>
        <p:spPr>
          <a:xfrm>
            <a:off x="444933" y="3682525"/>
            <a:ext cx="3519105" cy="584775"/>
          </a:xfrm>
          <a:prstGeom prst="rect">
            <a:avLst/>
          </a:prstGeom>
          <a:noFill/>
        </p:spPr>
        <p:txBody>
          <a:bodyPr wrap="none" rtlCol="0">
            <a:spAutoFit/>
          </a:bodyPr>
          <a:lstStyle/>
          <a:p>
            <a:r>
              <a:rPr lang="en-US" sz="3200" dirty="0"/>
              <a:t>Within-Host Biology</a:t>
            </a:r>
          </a:p>
        </p:txBody>
      </p:sp>
      <p:sp>
        <p:nvSpPr>
          <p:cNvPr id="20" name="TextBox 19"/>
          <p:cNvSpPr txBox="1"/>
          <p:nvPr/>
        </p:nvSpPr>
        <p:spPr>
          <a:xfrm>
            <a:off x="4892488" y="3682526"/>
            <a:ext cx="2875023" cy="584775"/>
          </a:xfrm>
          <a:prstGeom prst="rect">
            <a:avLst/>
          </a:prstGeom>
          <a:noFill/>
        </p:spPr>
        <p:txBody>
          <a:bodyPr wrap="square" rtlCol="0">
            <a:spAutoFit/>
          </a:bodyPr>
          <a:lstStyle/>
          <a:p>
            <a:r>
              <a:rPr lang="en-US" sz="3200" dirty="0"/>
              <a:t>Interventions</a:t>
            </a:r>
          </a:p>
        </p:txBody>
      </p:sp>
    </p:spTree>
    <p:extLst>
      <p:ext uri="{BB962C8B-B14F-4D97-AF65-F5344CB8AC3E}">
        <p14:creationId xmlns:p14="http://schemas.microsoft.com/office/powerpoint/2010/main" val="17081394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539"/>
            <a:ext cx="9002713" cy="485775"/>
          </a:xfrm>
          <a:prstGeom prst="rect">
            <a:avLst/>
          </a:prstGeom>
        </p:spPr>
        <p:txBody>
          <a:bodyPr>
            <a:normAutofit fontScale="90000"/>
          </a:bodyPr>
          <a:lstStyle/>
          <a:p>
            <a:r>
              <a:rPr lang="en-US" sz="4000" dirty="0">
                <a:solidFill>
                  <a:schemeClr val="tx1"/>
                </a:solidFill>
                <a:latin typeface="+mn-lt"/>
              </a:rPr>
              <a:t>EMOD-HIV: sexual behavior and network</a:t>
            </a:r>
          </a:p>
        </p:txBody>
      </p:sp>
      <p:graphicFrame>
        <p:nvGraphicFramePr>
          <p:cNvPr id="110" name="Diagram 109"/>
          <p:cNvGraphicFramePr/>
          <p:nvPr>
            <p:extLst/>
          </p:nvPr>
        </p:nvGraphicFramePr>
        <p:xfrm>
          <a:off x="0" y="2414588"/>
          <a:ext cx="851382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2"/>
          <p:cNvSpPr txBox="1">
            <a:spLocks/>
          </p:cNvSpPr>
          <p:nvPr/>
        </p:nvSpPr>
        <p:spPr>
          <a:xfrm>
            <a:off x="934311" y="882331"/>
            <a:ext cx="7275378" cy="2895800"/>
          </a:xfrm>
          <a:prstGeom prst="rect">
            <a:avLst/>
          </a:prstGeom>
        </p:spPr>
        <p:txBody>
          <a:bodyPr>
            <a:normAutofit/>
          </a:bodyPr>
          <a:lstStyle>
            <a:lvl1pPr marL="342900" indent="-342900" algn="l" defTabSz="457200" rtl="0" eaLnBrk="1" latinLnBrk="0" hangingPunct="1">
              <a:spcBef>
                <a:spcPct val="20000"/>
              </a:spcBef>
              <a:buFontTx/>
              <a:buNone/>
              <a:defRPr sz="2100" b="1" i="0" kern="1200" spc="150">
                <a:solidFill>
                  <a:schemeClr val="bg1"/>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008080"/>
              </a:buClr>
            </a:pPr>
            <a:r>
              <a:rPr lang="en-US" sz="1800" dirty="0">
                <a:solidFill>
                  <a:schemeClr val="tx1">
                    <a:lumMod val="65000"/>
                    <a:lumOff val="35000"/>
                  </a:schemeClr>
                </a:solidFill>
                <a:cs typeface="+mn-cs"/>
              </a:rPr>
              <a:t>Individuals are paired into relationships</a:t>
            </a:r>
          </a:p>
          <a:p>
            <a:pPr lvl="1">
              <a:buClr>
                <a:srgbClr val="008080"/>
              </a:buClr>
            </a:pPr>
            <a:r>
              <a:rPr lang="en-US" sz="1800" dirty="0">
                <a:solidFill>
                  <a:schemeClr val="tx1">
                    <a:lumMod val="65000"/>
                    <a:lumOff val="35000"/>
                  </a:schemeClr>
                </a:solidFill>
                <a:latin typeface="Calibri"/>
              </a:rPr>
              <a:t>Currently only heterosexual relationships are modeled</a:t>
            </a:r>
          </a:p>
          <a:p>
            <a:pPr lvl="1">
              <a:buClr>
                <a:srgbClr val="008080"/>
              </a:buClr>
            </a:pPr>
            <a:r>
              <a:rPr lang="en-US" sz="1800" dirty="0">
                <a:solidFill>
                  <a:schemeClr val="tx1">
                    <a:lumMod val="65000"/>
                    <a:lumOff val="35000"/>
                  </a:schemeClr>
                </a:solidFill>
                <a:latin typeface="Calibri"/>
              </a:rPr>
              <a:t>The model knows which specific individuals are in the relationship</a:t>
            </a:r>
          </a:p>
          <a:p>
            <a:pPr lvl="1">
              <a:buClr>
                <a:srgbClr val="008080"/>
              </a:buClr>
            </a:pPr>
            <a:r>
              <a:rPr lang="en-US" sz="1800" dirty="0">
                <a:solidFill>
                  <a:schemeClr val="tx1">
                    <a:lumMod val="65000"/>
                    <a:lumOff val="35000"/>
                  </a:schemeClr>
                </a:solidFill>
                <a:latin typeface="Calibri"/>
              </a:rPr>
              <a:t>The relationship is remembered over time</a:t>
            </a:r>
          </a:p>
          <a:p>
            <a:pPr lvl="1">
              <a:buClr>
                <a:srgbClr val="008080"/>
              </a:buClr>
            </a:pPr>
            <a:r>
              <a:rPr lang="en-US" sz="1800" dirty="0">
                <a:solidFill>
                  <a:schemeClr val="tx1">
                    <a:lumMod val="65000"/>
                    <a:lumOff val="35000"/>
                  </a:schemeClr>
                </a:solidFill>
                <a:latin typeface="Calibri"/>
              </a:rPr>
              <a:t>Some relationship types are longer, others are shorter on average</a:t>
            </a:r>
          </a:p>
          <a:p>
            <a:pPr lvl="1">
              <a:buClr>
                <a:srgbClr val="008080"/>
              </a:buClr>
            </a:pPr>
            <a:endParaRPr lang="en-US" sz="1800" dirty="0">
              <a:solidFill>
                <a:schemeClr val="tx1">
                  <a:lumMod val="65000"/>
                  <a:lumOff val="35000"/>
                </a:schemeClr>
              </a:solidFill>
            </a:endParaRPr>
          </a:p>
          <a:p>
            <a:endParaRPr lang="en-US" sz="1600" dirty="0">
              <a:solidFill>
                <a:schemeClr val="tx1">
                  <a:lumMod val="65000"/>
                  <a:lumOff val="35000"/>
                </a:schemeClr>
              </a:solidFill>
            </a:endParaRPr>
          </a:p>
        </p:txBody>
      </p:sp>
    </p:spTree>
    <p:extLst>
      <p:ext uri="{BB962C8B-B14F-4D97-AF65-F5344CB8AC3E}">
        <p14:creationId xmlns:p14="http://schemas.microsoft.com/office/powerpoint/2010/main" val="799346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99392" y="1307592"/>
            <a:ext cx="8905461" cy="4750904"/>
          </a:xfrm>
          <a:prstGeom prst="rect">
            <a:avLst/>
          </a:prstGeom>
          <a:solidFill>
            <a:schemeClr val="bg1"/>
          </a:solidFill>
        </p:spPr>
        <p:txBody>
          <a:bodyPr wrap="square" rtlCol="0">
            <a:spAutoFit/>
          </a:bodyPr>
          <a:lstStyle/>
          <a:p>
            <a:endParaRPr lang="en-US" dirty="0"/>
          </a:p>
        </p:txBody>
      </p:sp>
      <p:pic>
        <p:nvPicPr>
          <p:cNvPr id="152"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400" y="1574693"/>
            <a:ext cx="304800" cy="684981"/>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18114" y="2508151"/>
            <a:ext cx="304800" cy="684981"/>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00" y="4336542"/>
            <a:ext cx="304800" cy="684981"/>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53886" y="2498629"/>
            <a:ext cx="304800" cy="684981"/>
          </a:xfrm>
          <a:prstGeom prst="rect">
            <a:avLst/>
          </a:prstGeom>
          <a:noFill/>
          <a:extLst>
            <a:ext uri="{909E8E84-426E-40DD-AFC4-6F175D3DCCD1}">
              <a14:hiddenFill xmlns:a14="http://schemas.microsoft.com/office/drawing/2010/main">
                <a:solidFill>
                  <a:srgbClr val="FFFFFF"/>
                </a:solidFill>
              </a14:hiddenFill>
            </a:ext>
          </a:extLst>
        </p:spPr>
      </p:pic>
      <p:cxnSp>
        <p:nvCxnSpPr>
          <p:cNvPr id="156" name="Straight Arrow Connector 155"/>
          <p:cNvCxnSpPr>
            <a:stCxn id="152" idx="3"/>
            <a:endCxn id="182" idx="1"/>
          </p:cNvCxnSpPr>
          <p:nvPr/>
        </p:nvCxnSpPr>
        <p:spPr>
          <a:xfrm flipV="1">
            <a:off x="838200" y="1916073"/>
            <a:ext cx="930837" cy="1111"/>
          </a:xfrm>
          <a:prstGeom prst="straightConnector1">
            <a:avLst/>
          </a:prstGeom>
          <a:noFill/>
          <a:ln w="9525" cap="flat" cmpd="sng" algn="ctr">
            <a:solidFill>
              <a:srgbClr val="E31B23">
                <a:shade val="95000"/>
                <a:satMod val="105000"/>
              </a:srgbClr>
            </a:solidFill>
            <a:prstDash val="solid"/>
            <a:headEnd type="triangle"/>
            <a:tailEnd type="triangle"/>
          </a:ln>
          <a:effectLst/>
        </p:spPr>
      </p:cxnSp>
      <p:sp>
        <p:nvSpPr>
          <p:cNvPr id="157" name="TextBox 156"/>
          <p:cNvSpPr txBox="1"/>
          <p:nvPr/>
        </p:nvSpPr>
        <p:spPr>
          <a:xfrm>
            <a:off x="960114" y="1650485"/>
            <a:ext cx="716286"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Marital</a:t>
            </a:r>
          </a:p>
        </p:txBody>
      </p:sp>
      <p:pic>
        <p:nvPicPr>
          <p:cNvPr id="158"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71800" y="3422142"/>
            <a:ext cx="304800" cy="684981"/>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77396" y="2498628"/>
            <a:ext cx="304800" cy="684981"/>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48400" y="3422140"/>
            <a:ext cx="304800" cy="684981"/>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10007" y="4341441"/>
            <a:ext cx="304800" cy="684981"/>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2" descr="https://encrypted-tbn1.gstatic.com/images?q=tbn:ANd9GcRqXOt2dt5brpXnbW8Ja2jkKDr1Vgeg_EpIfXVWNAjQ0EMCURjLOln8dL8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67600" y="1568907"/>
            <a:ext cx="304800" cy="684981"/>
          </a:xfrm>
          <a:prstGeom prst="rect">
            <a:avLst/>
          </a:prstGeom>
          <a:noFill/>
          <a:extLst>
            <a:ext uri="{909E8E84-426E-40DD-AFC4-6F175D3DCCD1}">
              <a14:hiddenFill xmlns:a14="http://schemas.microsoft.com/office/drawing/2010/main">
                <a:solidFill>
                  <a:srgbClr val="FFFFFF"/>
                </a:solidFill>
              </a14:hiddenFill>
            </a:ext>
          </a:extLst>
        </p:spPr>
      </p:pic>
      <p:cxnSp>
        <p:nvCxnSpPr>
          <p:cNvPr id="163" name="Straight Arrow Connector 162"/>
          <p:cNvCxnSpPr>
            <a:stCxn id="155" idx="3"/>
            <a:endCxn id="183" idx="1"/>
          </p:cNvCxnSpPr>
          <p:nvPr/>
        </p:nvCxnSpPr>
        <p:spPr>
          <a:xfrm>
            <a:off x="1458686" y="2841120"/>
            <a:ext cx="839753" cy="2748"/>
          </a:xfrm>
          <a:prstGeom prst="straightConnector1">
            <a:avLst/>
          </a:prstGeom>
          <a:noFill/>
          <a:ln w="9525" cap="flat" cmpd="sng" algn="ctr">
            <a:solidFill>
              <a:srgbClr val="E31B23">
                <a:shade val="95000"/>
                <a:satMod val="105000"/>
              </a:srgbClr>
            </a:solidFill>
            <a:prstDash val="solid"/>
            <a:headEnd type="triangle"/>
            <a:tailEnd type="triangle"/>
          </a:ln>
          <a:effectLst/>
        </p:spPr>
      </p:cxnSp>
      <p:cxnSp>
        <p:nvCxnSpPr>
          <p:cNvPr id="164" name="Straight Arrow Connector 163"/>
          <p:cNvCxnSpPr>
            <a:endCxn id="155" idx="1"/>
          </p:cNvCxnSpPr>
          <p:nvPr/>
        </p:nvCxnSpPr>
        <p:spPr>
          <a:xfrm flipV="1">
            <a:off x="685800" y="2841120"/>
            <a:ext cx="468086" cy="597483"/>
          </a:xfrm>
          <a:prstGeom prst="straightConnector1">
            <a:avLst/>
          </a:prstGeom>
          <a:noFill/>
          <a:ln w="9525" cap="flat" cmpd="sng" algn="ctr">
            <a:solidFill>
              <a:srgbClr val="E31B23">
                <a:shade val="95000"/>
                <a:satMod val="105000"/>
              </a:srgbClr>
            </a:solidFill>
            <a:prstDash val="solid"/>
            <a:headEnd type="triangle"/>
            <a:tailEnd type="triangle"/>
          </a:ln>
          <a:effectLst/>
        </p:spPr>
      </p:cxnSp>
      <p:cxnSp>
        <p:nvCxnSpPr>
          <p:cNvPr id="165" name="Straight Arrow Connector 164"/>
          <p:cNvCxnSpPr>
            <a:endCxn id="155" idx="3"/>
          </p:cNvCxnSpPr>
          <p:nvPr/>
        </p:nvCxnSpPr>
        <p:spPr>
          <a:xfrm flipH="1" flipV="1">
            <a:off x="1458686" y="2841120"/>
            <a:ext cx="446314" cy="581021"/>
          </a:xfrm>
          <a:prstGeom prst="straightConnector1">
            <a:avLst/>
          </a:prstGeom>
          <a:noFill/>
          <a:ln w="9525" cap="flat" cmpd="sng" algn="ctr">
            <a:solidFill>
              <a:srgbClr val="E31B23">
                <a:shade val="95000"/>
                <a:satMod val="105000"/>
              </a:srgbClr>
            </a:solidFill>
            <a:prstDash val="solid"/>
            <a:headEnd type="triangle"/>
            <a:tailEnd type="triangle"/>
          </a:ln>
          <a:effectLst/>
        </p:spPr>
      </p:cxnSp>
      <p:cxnSp>
        <p:nvCxnSpPr>
          <p:cNvPr id="166" name="Straight Arrow Connector 165"/>
          <p:cNvCxnSpPr>
            <a:endCxn id="154" idx="1"/>
          </p:cNvCxnSpPr>
          <p:nvPr/>
        </p:nvCxnSpPr>
        <p:spPr>
          <a:xfrm>
            <a:off x="1458686" y="4679033"/>
            <a:ext cx="827314" cy="0"/>
          </a:xfrm>
          <a:prstGeom prst="straightConnector1">
            <a:avLst/>
          </a:prstGeom>
          <a:noFill/>
          <a:ln w="9525" cap="flat" cmpd="sng" algn="ctr">
            <a:solidFill>
              <a:srgbClr val="E31B23">
                <a:shade val="95000"/>
                <a:satMod val="105000"/>
              </a:srgbClr>
            </a:solidFill>
            <a:prstDash val="solid"/>
            <a:headEnd type="triangle"/>
            <a:tailEnd type="triangle"/>
          </a:ln>
          <a:effectLst/>
        </p:spPr>
      </p:cxnSp>
      <p:cxnSp>
        <p:nvCxnSpPr>
          <p:cNvPr id="167" name="Straight Arrow Connector 166"/>
          <p:cNvCxnSpPr>
            <a:stCxn id="153" idx="3"/>
          </p:cNvCxnSpPr>
          <p:nvPr/>
        </p:nvCxnSpPr>
        <p:spPr>
          <a:xfrm>
            <a:off x="3722914" y="2850642"/>
            <a:ext cx="824841" cy="0"/>
          </a:xfrm>
          <a:prstGeom prst="straightConnector1">
            <a:avLst/>
          </a:prstGeom>
          <a:noFill/>
          <a:ln w="9525" cap="flat" cmpd="sng" algn="ctr">
            <a:solidFill>
              <a:srgbClr val="E31B23">
                <a:shade val="95000"/>
                <a:satMod val="105000"/>
              </a:srgbClr>
            </a:solidFill>
            <a:prstDash val="solid"/>
            <a:headEnd type="triangle"/>
            <a:tailEnd type="triangle"/>
          </a:ln>
          <a:effectLst/>
        </p:spPr>
      </p:cxnSp>
      <p:cxnSp>
        <p:nvCxnSpPr>
          <p:cNvPr id="168" name="Straight Arrow Connector 167"/>
          <p:cNvCxnSpPr>
            <a:endCxn id="159" idx="1"/>
          </p:cNvCxnSpPr>
          <p:nvPr/>
        </p:nvCxnSpPr>
        <p:spPr>
          <a:xfrm flipV="1">
            <a:off x="4852555" y="2841119"/>
            <a:ext cx="824841" cy="9523"/>
          </a:xfrm>
          <a:prstGeom prst="straightConnector1">
            <a:avLst/>
          </a:prstGeom>
          <a:noFill/>
          <a:ln w="9525" cap="flat" cmpd="sng" algn="ctr">
            <a:solidFill>
              <a:srgbClr val="E31B23">
                <a:shade val="95000"/>
                <a:satMod val="105000"/>
              </a:srgbClr>
            </a:solidFill>
            <a:prstDash val="solid"/>
            <a:headEnd type="triangle"/>
            <a:tailEnd type="triangle"/>
          </a:ln>
          <a:effectLst/>
        </p:spPr>
      </p:cxnSp>
      <p:cxnSp>
        <p:nvCxnSpPr>
          <p:cNvPr id="169" name="Straight Arrow Connector 168"/>
          <p:cNvCxnSpPr>
            <a:stCxn id="160" idx="0"/>
          </p:cNvCxnSpPr>
          <p:nvPr/>
        </p:nvCxnSpPr>
        <p:spPr>
          <a:xfrm flipV="1">
            <a:off x="6400800" y="2850642"/>
            <a:ext cx="406237" cy="571498"/>
          </a:xfrm>
          <a:prstGeom prst="straightConnector1">
            <a:avLst/>
          </a:prstGeom>
          <a:noFill/>
          <a:ln w="9525" cap="flat" cmpd="sng" algn="ctr">
            <a:solidFill>
              <a:srgbClr val="E31B23">
                <a:shade val="95000"/>
                <a:satMod val="105000"/>
              </a:srgbClr>
            </a:solidFill>
            <a:prstDash val="solid"/>
            <a:headEnd type="triangle"/>
            <a:tailEnd type="triangle"/>
          </a:ln>
          <a:effectLst/>
        </p:spPr>
      </p:cxnSp>
      <p:cxnSp>
        <p:nvCxnSpPr>
          <p:cNvPr id="170" name="Straight Arrow Connector 169"/>
          <p:cNvCxnSpPr>
            <a:stCxn id="161" idx="0"/>
          </p:cNvCxnSpPr>
          <p:nvPr/>
        </p:nvCxnSpPr>
        <p:spPr>
          <a:xfrm flipH="1" flipV="1">
            <a:off x="7772400" y="3814972"/>
            <a:ext cx="990007" cy="526469"/>
          </a:xfrm>
          <a:prstGeom prst="straightConnector1">
            <a:avLst/>
          </a:prstGeom>
          <a:noFill/>
          <a:ln w="9525" cap="flat" cmpd="sng" algn="ctr">
            <a:solidFill>
              <a:srgbClr val="E31B23">
                <a:shade val="95000"/>
                <a:satMod val="105000"/>
              </a:srgbClr>
            </a:solidFill>
            <a:prstDash val="solid"/>
            <a:headEnd type="triangle"/>
            <a:tailEnd type="triangle"/>
          </a:ln>
          <a:effectLst/>
        </p:spPr>
      </p:cxnSp>
      <p:cxnSp>
        <p:nvCxnSpPr>
          <p:cNvPr id="171" name="Straight Arrow Connector 170"/>
          <p:cNvCxnSpPr>
            <a:endCxn id="161" idx="0"/>
          </p:cNvCxnSpPr>
          <p:nvPr/>
        </p:nvCxnSpPr>
        <p:spPr>
          <a:xfrm>
            <a:off x="8241478" y="2841118"/>
            <a:ext cx="520929" cy="1500323"/>
          </a:xfrm>
          <a:prstGeom prst="straightConnector1">
            <a:avLst/>
          </a:prstGeom>
          <a:noFill/>
          <a:ln w="9525" cap="flat" cmpd="sng" algn="ctr">
            <a:solidFill>
              <a:srgbClr val="E31B23">
                <a:shade val="95000"/>
                <a:satMod val="105000"/>
              </a:srgbClr>
            </a:solidFill>
            <a:prstDash val="solid"/>
            <a:headEnd type="triangle"/>
            <a:tailEnd type="triangle"/>
          </a:ln>
          <a:effectLst/>
        </p:spPr>
      </p:cxnSp>
      <p:sp>
        <p:nvSpPr>
          <p:cNvPr id="172" name="TextBox 171"/>
          <p:cNvSpPr txBox="1"/>
          <p:nvPr/>
        </p:nvSpPr>
        <p:spPr>
          <a:xfrm>
            <a:off x="4907767" y="2583942"/>
            <a:ext cx="716286"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Marital</a:t>
            </a:r>
          </a:p>
        </p:txBody>
      </p:sp>
      <p:sp>
        <p:nvSpPr>
          <p:cNvPr id="173" name="TextBox 172"/>
          <p:cNvSpPr txBox="1"/>
          <p:nvPr/>
        </p:nvSpPr>
        <p:spPr>
          <a:xfrm>
            <a:off x="137954" y="2850641"/>
            <a:ext cx="912814"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Transitory</a:t>
            </a:r>
          </a:p>
        </p:txBody>
      </p:sp>
      <p:sp>
        <p:nvSpPr>
          <p:cNvPr id="174" name="TextBox 173"/>
          <p:cNvSpPr txBox="1"/>
          <p:nvPr/>
        </p:nvSpPr>
        <p:spPr>
          <a:xfrm>
            <a:off x="996836" y="3175774"/>
            <a:ext cx="912814"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Transitory</a:t>
            </a:r>
          </a:p>
        </p:txBody>
      </p:sp>
      <p:sp>
        <p:nvSpPr>
          <p:cNvPr id="175" name="TextBox 174"/>
          <p:cNvSpPr txBox="1"/>
          <p:nvPr/>
        </p:nvSpPr>
        <p:spPr>
          <a:xfrm>
            <a:off x="1541118" y="2602846"/>
            <a:ext cx="716286"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Marital</a:t>
            </a:r>
          </a:p>
        </p:txBody>
      </p:sp>
      <p:sp>
        <p:nvSpPr>
          <p:cNvPr id="176" name="TextBox 175"/>
          <p:cNvSpPr txBox="1"/>
          <p:nvPr/>
        </p:nvSpPr>
        <p:spPr>
          <a:xfrm>
            <a:off x="1494470" y="4412742"/>
            <a:ext cx="801823"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Informal</a:t>
            </a:r>
          </a:p>
        </p:txBody>
      </p:sp>
      <p:sp>
        <p:nvSpPr>
          <p:cNvPr id="177" name="TextBox 176"/>
          <p:cNvSpPr txBox="1"/>
          <p:nvPr/>
        </p:nvSpPr>
        <p:spPr>
          <a:xfrm>
            <a:off x="7733569" y="4095563"/>
            <a:ext cx="801823"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Informal</a:t>
            </a:r>
          </a:p>
        </p:txBody>
      </p:sp>
      <p:sp>
        <p:nvSpPr>
          <p:cNvPr id="178" name="TextBox 177"/>
          <p:cNvSpPr txBox="1"/>
          <p:nvPr/>
        </p:nvSpPr>
        <p:spPr>
          <a:xfrm>
            <a:off x="3733800" y="2584898"/>
            <a:ext cx="801823"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Informal</a:t>
            </a:r>
          </a:p>
        </p:txBody>
      </p:sp>
      <p:sp>
        <p:nvSpPr>
          <p:cNvPr id="179" name="TextBox 178"/>
          <p:cNvSpPr txBox="1"/>
          <p:nvPr/>
        </p:nvSpPr>
        <p:spPr>
          <a:xfrm>
            <a:off x="6428511" y="3183608"/>
            <a:ext cx="912814"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Transitory</a:t>
            </a:r>
          </a:p>
        </p:txBody>
      </p:sp>
      <p:sp>
        <p:nvSpPr>
          <p:cNvPr id="180" name="TextBox 179"/>
          <p:cNvSpPr txBox="1"/>
          <p:nvPr/>
        </p:nvSpPr>
        <p:spPr>
          <a:xfrm>
            <a:off x="7632672" y="3284714"/>
            <a:ext cx="912814" cy="307777"/>
          </a:xfrm>
          <a:prstGeom prst="rect">
            <a:avLst/>
          </a:prstGeom>
          <a:noFill/>
        </p:spPr>
        <p:txBody>
          <a:bodyPr wrap="none" rtlCol="0">
            <a:spAutoFit/>
          </a:bodyPr>
          <a:lstStyle/>
          <a:p>
            <a:pPr marL="0" marR="0" lvl="0" indent="0" defTabSz="81633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E31B23"/>
                </a:solidFill>
                <a:effectLst/>
                <a:uLnTx/>
                <a:uFillTx/>
              </a:rPr>
              <a:t>Transitory</a:t>
            </a:r>
          </a:p>
        </p:txBody>
      </p:sp>
      <p:sp>
        <p:nvSpPr>
          <p:cNvPr id="181" name="TextBox 180"/>
          <p:cNvSpPr txBox="1"/>
          <p:nvPr/>
        </p:nvSpPr>
        <p:spPr>
          <a:xfrm>
            <a:off x="2369458" y="1535491"/>
            <a:ext cx="4450642" cy="646331"/>
          </a:xfrm>
          <a:prstGeom prst="rect">
            <a:avLst/>
          </a:prstGeom>
          <a:noFill/>
        </p:spPr>
        <p:txBody>
          <a:bodyPr wrap="square" rtlCol="0">
            <a:spAutoFit/>
          </a:bodyPr>
          <a:lstStyle/>
          <a:p>
            <a:pPr marL="112713" marR="0" lvl="0" indent="-112713" defTabSz="816334"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rPr>
              <a:t>Relationships change over time</a:t>
            </a:r>
          </a:p>
          <a:p>
            <a:pPr marL="112713" marR="0" lvl="0" indent="-112713" defTabSz="816334"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effectLst/>
                <a:uLnTx/>
                <a:uFillTx/>
              </a:rPr>
              <a:t>Must have a relationship to transmit disease</a:t>
            </a:r>
          </a:p>
        </p:txBody>
      </p:sp>
      <p:pic>
        <p:nvPicPr>
          <p:cNvPr id="182" name="Picture 181"/>
          <p:cNvPicPr>
            <a:picLocks noChangeAspect="1"/>
          </p:cNvPicPr>
          <p:nvPr/>
        </p:nvPicPr>
        <p:blipFill>
          <a:blip r:embed="rId3"/>
          <a:stretch>
            <a:fillRect/>
          </a:stretch>
        </p:blipFill>
        <p:spPr>
          <a:xfrm>
            <a:off x="1769037" y="1565351"/>
            <a:ext cx="330091" cy="701444"/>
          </a:xfrm>
          <a:prstGeom prst="rect">
            <a:avLst/>
          </a:prstGeom>
        </p:spPr>
      </p:pic>
      <p:pic>
        <p:nvPicPr>
          <p:cNvPr id="183" name="Picture 182"/>
          <p:cNvPicPr>
            <a:picLocks noChangeAspect="1"/>
          </p:cNvPicPr>
          <p:nvPr/>
        </p:nvPicPr>
        <p:blipFill>
          <a:blip r:embed="rId3"/>
          <a:stretch>
            <a:fillRect/>
          </a:stretch>
        </p:blipFill>
        <p:spPr>
          <a:xfrm>
            <a:off x="2298439" y="2493146"/>
            <a:ext cx="330091" cy="701444"/>
          </a:xfrm>
          <a:prstGeom prst="rect">
            <a:avLst/>
          </a:prstGeom>
        </p:spPr>
      </p:pic>
      <p:pic>
        <p:nvPicPr>
          <p:cNvPr id="184" name="Picture 183"/>
          <p:cNvPicPr>
            <a:picLocks noChangeAspect="1"/>
          </p:cNvPicPr>
          <p:nvPr/>
        </p:nvPicPr>
        <p:blipFill>
          <a:blip r:embed="rId3"/>
          <a:stretch>
            <a:fillRect/>
          </a:stretch>
        </p:blipFill>
        <p:spPr>
          <a:xfrm>
            <a:off x="1755020" y="3413908"/>
            <a:ext cx="330091" cy="701444"/>
          </a:xfrm>
          <a:prstGeom prst="rect">
            <a:avLst/>
          </a:prstGeom>
        </p:spPr>
      </p:pic>
      <p:pic>
        <p:nvPicPr>
          <p:cNvPr id="185" name="Picture 184"/>
          <p:cNvPicPr>
            <a:picLocks noChangeAspect="1"/>
          </p:cNvPicPr>
          <p:nvPr/>
        </p:nvPicPr>
        <p:blipFill>
          <a:blip r:embed="rId3"/>
          <a:stretch>
            <a:fillRect/>
          </a:stretch>
        </p:blipFill>
        <p:spPr>
          <a:xfrm>
            <a:off x="533760" y="3430372"/>
            <a:ext cx="330091" cy="701444"/>
          </a:xfrm>
          <a:prstGeom prst="rect">
            <a:avLst/>
          </a:prstGeom>
        </p:spPr>
      </p:pic>
      <p:pic>
        <p:nvPicPr>
          <p:cNvPr id="186" name="Picture 185"/>
          <p:cNvPicPr>
            <a:picLocks noChangeAspect="1"/>
          </p:cNvPicPr>
          <p:nvPr/>
        </p:nvPicPr>
        <p:blipFill>
          <a:blip r:embed="rId3"/>
          <a:stretch>
            <a:fillRect/>
          </a:stretch>
        </p:blipFill>
        <p:spPr>
          <a:xfrm>
            <a:off x="1144963" y="4336542"/>
            <a:ext cx="330091" cy="701444"/>
          </a:xfrm>
          <a:prstGeom prst="rect">
            <a:avLst/>
          </a:prstGeom>
        </p:spPr>
      </p:pic>
      <p:pic>
        <p:nvPicPr>
          <p:cNvPr id="187" name="Picture 186"/>
          <p:cNvPicPr>
            <a:picLocks noChangeAspect="1"/>
          </p:cNvPicPr>
          <p:nvPr/>
        </p:nvPicPr>
        <p:blipFill>
          <a:blip r:embed="rId3"/>
          <a:stretch>
            <a:fillRect/>
          </a:stretch>
        </p:blipFill>
        <p:spPr>
          <a:xfrm>
            <a:off x="4547755" y="2502599"/>
            <a:ext cx="330091" cy="701444"/>
          </a:xfrm>
          <a:prstGeom prst="rect">
            <a:avLst/>
          </a:prstGeom>
        </p:spPr>
      </p:pic>
      <p:pic>
        <p:nvPicPr>
          <p:cNvPr id="188" name="Picture 187"/>
          <p:cNvPicPr>
            <a:picLocks noChangeAspect="1"/>
          </p:cNvPicPr>
          <p:nvPr/>
        </p:nvPicPr>
        <p:blipFill>
          <a:blip r:embed="rId3"/>
          <a:stretch>
            <a:fillRect/>
          </a:stretch>
        </p:blipFill>
        <p:spPr>
          <a:xfrm>
            <a:off x="5664750" y="4328310"/>
            <a:ext cx="330091" cy="701444"/>
          </a:xfrm>
          <a:prstGeom prst="rect">
            <a:avLst/>
          </a:prstGeom>
        </p:spPr>
      </p:pic>
      <p:pic>
        <p:nvPicPr>
          <p:cNvPr id="189" name="Picture 188"/>
          <p:cNvPicPr>
            <a:picLocks noChangeAspect="1"/>
          </p:cNvPicPr>
          <p:nvPr/>
        </p:nvPicPr>
        <p:blipFill>
          <a:blip r:embed="rId3"/>
          <a:stretch>
            <a:fillRect/>
          </a:stretch>
        </p:blipFill>
        <p:spPr>
          <a:xfrm>
            <a:off x="6812558" y="2489901"/>
            <a:ext cx="330091" cy="701444"/>
          </a:xfrm>
          <a:prstGeom prst="rect">
            <a:avLst/>
          </a:prstGeom>
        </p:spPr>
      </p:pic>
      <p:pic>
        <p:nvPicPr>
          <p:cNvPr id="190" name="Picture 189"/>
          <p:cNvPicPr>
            <a:picLocks noChangeAspect="1"/>
          </p:cNvPicPr>
          <p:nvPr/>
        </p:nvPicPr>
        <p:blipFill>
          <a:blip r:embed="rId3"/>
          <a:stretch>
            <a:fillRect/>
          </a:stretch>
        </p:blipFill>
        <p:spPr>
          <a:xfrm>
            <a:off x="7439889" y="3415049"/>
            <a:ext cx="330091" cy="701444"/>
          </a:xfrm>
          <a:prstGeom prst="rect">
            <a:avLst/>
          </a:prstGeom>
        </p:spPr>
      </p:pic>
      <p:pic>
        <p:nvPicPr>
          <p:cNvPr id="191" name="Picture 190"/>
          <p:cNvPicPr>
            <a:picLocks noChangeAspect="1"/>
          </p:cNvPicPr>
          <p:nvPr/>
        </p:nvPicPr>
        <p:blipFill>
          <a:blip r:embed="rId3"/>
          <a:stretch>
            <a:fillRect/>
          </a:stretch>
        </p:blipFill>
        <p:spPr>
          <a:xfrm>
            <a:off x="7905866" y="2491820"/>
            <a:ext cx="330091" cy="701444"/>
          </a:xfrm>
          <a:prstGeom prst="rect">
            <a:avLst/>
          </a:prstGeom>
        </p:spPr>
      </p:pic>
      <p:sp>
        <p:nvSpPr>
          <p:cNvPr id="194" name="Title 1"/>
          <p:cNvSpPr txBox="1">
            <a:spLocks/>
          </p:cNvSpPr>
          <p:nvPr/>
        </p:nvSpPr>
        <p:spPr>
          <a:xfrm>
            <a:off x="99392" y="239124"/>
            <a:ext cx="9291911" cy="487022"/>
          </a:xfrm>
          <a:prstGeom prst="rect">
            <a:avLst/>
          </a:prstGeom>
        </p:spPr>
        <p:txBody>
          <a:bodyPr vert="horz" lIns="91440" tIns="45720" rIns="91440" bIns="45720" rtlCol="0" anchor="ctr">
            <a:noAutofit/>
          </a:bodyPr>
          <a:lstStyle>
            <a:lvl1pPr algn="l" defTabSz="457200" rtl="0" eaLnBrk="1" latinLnBrk="0" hangingPunct="1">
              <a:spcBef>
                <a:spcPct val="0"/>
              </a:spcBef>
              <a:buNone/>
              <a:defRPr sz="4700" kern="1200" baseline="0">
                <a:solidFill>
                  <a:schemeClr val="bg1"/>
                </a:solidFill>
                <a:latin typeface="Arial Black"/>
                <a:ea typeface="+mj-ea"/>
                <a:cs typeface="Arial Black"/>
              </a:defRPr>
            </a:lvl1pPr>
          </a:lstStyle>
          <a:p>
            <a:r>
              <a:rPr lang="en-US" sz="3600" dirty="0">
                <a:solidFill>
                  <a:schemeClr val="tx1"/>
                </a:solidFill>
                <a:latin typeface="+mn-lt"/>
              </a:rPr>
              <a:t>EMOD-HIV:  HIV transmission and network</a:t>
            </a:r>
          </a:p>
        </p:txBody>
      </p:sp>
    </p:spTree>
    <p:extLst>
      <p:ext uri="{BB962C8B-B14F-4D97-AF65-F5344CB8AC3E}">
        <p14:creationId xmlns:p14="http://schemas.microsoft.com/office/powerpoint/2010/main" val="2949307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0" name="Diagram 19"/>
          <p:cNvGraphicFramePr/>
          <p:nvPr>
            <p:extLst/>
          </p:nvPr>
        </p:nvGraphicFramePr>
        <p:xfrm>
          <a:off x="216974" y="3685057"/>
          <a:ext cx="8513820" cy="13358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txBox="1">
            <a:spLocks/>
          </p:cNvSpPr>
          <p:nvPr/>
        </p:nvSpPr>
        <p:spPr>
          <a:xfrm>
            <a:off x="216974" y="249819"/>
            <a:ext cx="7576220" cy="518401"/>
          </a:xfrm>
          <a:prstGeom prst="rect">
            <a:avLst/>
          </a:prstGeom>
        </p:spPr>
        <p:txBody>
          <a:bodyPr/>
          <a:lstStyle>
            <a:lvl1pPr algn="l" defTabSz="457200" rtl="0" eaLnBrk="1" latinLnBrk="0" hangingPunct="1">
              <a:lnSpc>
                <a:spcPts val="4480"/>
              </a:lnSpc>
              <a:spcBef>
                <a:spcPct val="0"/>
              </a:spcBef>
              <a:spcAft>
                <a:spcPts val="0"/>
              </a:spcAft>
              <a:buNone/>
              <a:defRPr sz="4400" kern="1200" baseline="0">
                <a:solidFill>
                  <a:schemeClr val="bg1"/>
                </a:solidFill>
                <a:latin typeface="+mj-lt"/>
                <a:ea typeface="+mj-ea"/>
                <a:cs typeface="+mj-cs"/>
              </a:defRPr>
            </a:lvl1pPr>
          </a:lstStyle>
          <a:p>
            <a:r>
              <a:rPr lang="en-US" sz="3600" dirty="0">
                <a:solidFill>
                  <a:schemeClr val="tx1"/>
                </a:solidFill>
              </a:rPr>
              <a:t>EMOD-HIV: population risk groups</a:t>
            </a:r>
          </a:p>
        </p:txBody>
      </p:sp>
      <p:sp>
        <p:nvSpPr>
          <p:cNvPr id="6" name="Text Placeholder 2"/>
          <p:cNvSpPr txBox="1">
            <a:spLocks/>
          </p:cNvSpPr>
          <p:nvPr/>
        </p:nvSpPr>
        <p:spPr>
          <a:xfrm>
            <a:off x="482138" y="1673443"/>
            <a:ext cx="8322991" cy="4023228"/>
          </a:xfrm>
          <a:prstGeom prst="rect">
            <a:avLst/>
          </a:prstGeom>
        </p:spPr>
        <p:txBody>
          <a:bodyPr/>
          <a:lstStyle>
            <a:lvl1pPr marL="342900" indent="-342900" algn="l" defTabSz="457200" rtl="0" eaLnBrk="1" latinLnBrk="0" hangingPunct="1">
              <a:spcBef>
                <a:spcPct val="20000"/>
              </a:spcBef>
              <a:buFontTx/>
              <a:buNone/>
              <a:defRPr sz="2100" b="1" i="0" kern="1200" spc="150">
                <a:solidFill>
                  <a:schemeClr val="bg1"/>
                </a:solidFill>
                <a:latin typeface="Calibri"/>
                <a:ea typeface="+mn-ea"/>
                <a:cs typeface="Calibri"/>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008080"/>
              </a:buClr>
              <a:buFont typeface="Arial" panose="020B0604020202020204" pitchFamily="34" charset="0"/>
              <a:buChar char="•"/>
            </a:pPr>
            <a:r>
              <a:rPr lang="en-US" sz="2000" b="0" spc="0" dirty="0">
                <a:solidFill>
                  <a:srgbClr val="535352"/>
                </a:solidFill>
              </a:rPr>
              <a:t>The EMOD software can handle any number of risk groups</a:t>
            </a:r>
          </a:p>
          <a:p>
            <a:pPr>
              <a:buClr>
                <a:srgbClr val="008080"/>
              </a:buClr>
              <a:buFont typeface="Arial" panose="020B0604020202020204" pitchFamily="34" charset="0"/>
              <a:buChar char="•"/>
            </a:pPr>
            <a:r>
              <a:rPr lang="en-US" sz="2000" b="0" spc="0" dirty="0">
                <a:solidFill>
                  <a:srgbClr val="535352"/>
                </a:solidFill>
              </a:rPr>
              <a:t>We are including three risk groups</a:t>
            </a:r>
          </a:p>
        </p:txBody>
      </p:sp>
    </p:spTree>
    <p:extLst>
      <p:ext uri="{BB962C8B-B14F-4D97-AF65-F5344CB8AC3E}">
        <p14:creationId xmlns:p14="http://schemas.microsoft.com/office/powerpoint/2010/main" val="3925366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57200" y="2547938"/>
            <a:ext cx="8229600" cy="739775"/>
          </a:xfrm>
          <a:prstGeom prst="rect">
            <a:avLst/>
          </a:prstGeom>
        </p:spPr>
        <p:txBody>
          <a:bodyPr/>
          <a:lstStyle/>
          <a:p>
            <a:pPr algn="ctr"/>
            <a:r>
              <a:rPr lang="en-US" sz="6000" b="1" u="sng" dirty="0">
                <a:solidFill>
                  <a:schemeClr val="tx1"/>
                </a:solidFill>
              </a:rPr>
              <a:t>First draft </a:t>
            </a:r>
            <a:r>
              <a:rPr lang="en-US" b="1" dirty="0">
                <a:solidFill>
                  <a:schemeClr val="tx1"/>
                </a:solidFill>
              </a:rPr>
              <a:t>model analyses</a:t>
            </a:r>
            <a:br>
              <a:rPr lang="en-US" b="1" dirty="0">
                <a:solidFill>
                  <a:schemeClr val="tx1"/>
                </a:solidFill>
              </a:rPr>
            </a:br>
            <a:r>
              <a:rPr lang="en-US" sz="2800" b="1" dirty="0">
                <a:solidFill>
                  <a:schemeClr val="tx1"/>
                </a:solidFill>
              </a:rPr>
              <a:t>Zimbabwe (currently working on Kenya)</a:t>
            </a:r>
            <a:endParaRPr lang="en-US" sz="4400" b="1" dirty="0">
              <a:solidFill>
                <a:schemeClr val="tx1"/>
              </a:solidFill>
            </a:endParaRPr>
          </a:p>
        </p:txBody>
      </p:sp>
    </p:spTree>
    <p:extLst>
      <p:ext uri="{BB962C8B-B14F-4D97-AF65-F5344CB8AC3E}">
        <p14:creationId xmlns:p14="http://schemas.microsoft.com/office/powerpoint/2010/main" val="18134030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320844" y="0"/>
            <a:ext cx="8557980" cy="973138"/>
          </a:xfrm>
        </p:spPr>
        <p:txBody>
          <a:bodyPr>
            <a:noAutofit/>
          </a:bodyPr>
          <a:lstStyle/>
          <a:p>
            <a:r>
              <a:rPr lang="en-US" sz="3200" dirty="0">
                <a:solidFill>
                  <a:srgbClr val="595959"/>
                </a:solidFill>
              </a:rPr>
              <a:t>EMOD-HIV: fitting HIV prevalence by province</a:t>
            </a:r>
          </a:p>
        </p:txBody>
      </p:sp>
      <p:pic>
        <p:nvPicPr>
          <p:cNvPr id="5" name="Content Placeholder 2"/>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1825625"/>
            <a:ext cx="7734300" cy="4351338"/>
          </a:xfrm>
        </p:spPr>
      </p:pic>
      <p:sp>
        <p:nvSpPr>
          <p:cNvPr id="7" name="Title 4"/>
          <p:cNvSpPr txBox="1">
            <a:spLocks/>
          </p:cNvSpPr>
          <p:nvPr/>
        </p:nvSpPr>
        <p:spPr>
          <a:xfrm rot="16200000">
            <a:off x="-2581946" y="2563931"/>
            <a:ext cx="5805580" cy="641688"/>
          </a:xfrm>
          <a:prstGeom prst="rect">
            <a:avLst/>
          </a:prstGeom>
        </p:spPr>
        <p:txBody>
          <a:bodyPr vert="horz"/>
          <a:lstStyle>
            <a:lvl1pPr algn="ctr" defTabSz="457200" rtl="0" eaLnBrk="1" latinLnBrk="0" hangingPunct="1">
              <a:spcBef>
                <a:spcPct val="0"/>
              </a:spcBef>
              <a:buNone/>
              <a:defRPr sz="4400" kern="1200">
                <a:solidFill>
                  <a:srgbClr val="595959"/>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a:ea typeface="+mj-ea"/>
                <a:cs typeface="+mj-cs"/>
              </a:rPr>
              <a:t>HIV Prevalence 15-49 </a:t>
            </a:r>
          </a:p>
        </p:txBody>
      </p:sp>
      <p:pic>
        <p:nvPicPr>
          <p:cNvPr id="3" name="Picture 2"/>
          <p:cNvPicPr>
            <a:picLocks noChangeAspect="1"/>
          </p:cNvPicPr>
          <p:nvPr/>
        </p:nvPicPr>
        <p:blipFill>
          <a:blip r:embed="rId4"/>
          <a:stretch>
            <a:fillRect/>
          </a:stretch>
        </p:blipFill>
        <p:spPr>
          <a:xfrm>
            <a:off x="481263" y="545432"/>
            <a:ext cx="8662737" cy="6044618"/>
          </a:xfrm>
          <a:prstGeom prst="rect">
            <a:avLst/>
          </a:prstGeom>
        </p:spPr>
      </p:pic>
    </p:spTree>
    <p:extLst>
      <p:ext uri="{BB962C8B-B14F-4D97-AF65-F5344CB8AC3E}">
        <p14:creationId xmlns:p14="http://schemas.microsoft.com/office/powerpoint/2010/main" val="892366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8"/>
          <p:cNvSpPr txBox="1">
            <a:spLocks/>
          </p:cNvSpPr>
          <p:nvPr/>
        </p:nvSpPr>
        <p:spPr>
          <a:xfrm>
            <a:off x="217360" y="782711"/>
            <a:ext cx="7523509" cy="5579965"/>
          </a:xfrm>
          <a:prstGeom prst="rect">
            <a:avLst/>
          </a:prstGeom>
        </p:spPr>
        <p:txBody>
          <a:body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tle 1"/>
          <p:cNvSpPr>
            <a:spLocks noGrp="1"/>
          </p:cNvSpPr>
          <p:nvPr>
            <p:ph type="title"/>
          </p:nvPr>
        </p:nvSpPr>
        <p:spPr>
          <a:xfrm>
            <a:off x="1433146" y="576072"/>
            <a:ext cx="7253654" cy="841565"/>
          </a:xfrm>
          <a:prstGeom prst="rect">
            <a:avLst/>
          </a:prstGeom>
        </p:spPr>
        <p:txBody>
          <a:bodyPr>
            <a:noAutofit/>
          </a:bodyPr>
          <a:lstStyle/>
          <a:p>
            <a:r>
              <a:rPr lang="en-US" sz="3200" dirty="0"/>
              <a:t>EMOD-HIV: fitting HIV prevalence by age</a:t>
            </a:r>
          </a:p>
        </p:txBody>
      </p:sp>
      <p:pic>
        <p:nvPicPr>
          <p:cNvPr id="6"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386" y="1318666"/>
            <a:ext cx="7441324" cy="4891683"/>
          </a:xfrm>
          <a:prstGeom prst="rect">
            <a:avLst/>
          </a:prstGeom>
        </p:spPr>
      </p:pic>
    </p:spTree>
    <p:extLst>
      <p:ext uri="{BB962C8B-B14F-4D97-AF65-F5344CB8AC3E}">
        <p14:creationId xmlns:p14="http://schemas.microsoft.com/office/powerpoint/2010/main" val="11263657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3200" dirty="0"/>
              <a:t>Oral </a:t>
            </a:r>
            <a:r>
              <a:rPr lang="en-GB" sz="3200" dirty="0" err="1"/>
              <a:t>PrEP</a:t>
            </a:r>
            <a:r>
              <a:rPr lang="en-GB" sz="3200" dirty="0"/>
              <a:t> subpopulation analysis: scenarios considered</a:t>
            </a:r>
          </a:p>
        </p:txBody>
      </p:sp>
      <p:sp>
        <p:nvSpPr>
          <p:cNvPr id="3" name="Content Placeholder 2"/>
          <p:cNvSpPr>
            <a:spLocks noGrp="1"/>
          </p:cNvSpPr>
          <p:nvPr>
            <p:ph type="body" sz="quarter" idx="10"/>
          </p:nvPr>
        </p:nvSpPr>
        <p:spPr>
          <a:xfrm>
            <a:off x="457200" y="1937657"/>
            <a:ext cx="8229600" cy="4007034"/>
          </a:xfrm>
        </p:spPr>
        <p:txBody>
          <a:bodyPr>
            <a:normAutofit lnSpcReduction="10000"/>
          </a:bodyPr>
          <a:lstStyle/>
          <a:p>
            <a:pPr marL="457200" indent="-457200">
              <a:spcAft>
                <a:spcPts val="600"/>
              </a:spcAft>
              <a:buFont typeface="+mj-lt"/>
              <a:buAutoNum type="arabicPeriod"/>
            </a:pPr>
            <a:r>
              <a:rPr lang="en-GB" sz="2800" b="0" dirty="0">
                <a:solidFill>
                  <a:schemeClr val="tx1">
                    <a:lumMod val="65000"/>
                    <a:lumOff val="35000"/>
                  </a:schemeClr>
                </a:solidFill>
              </a:rPr>
              <a:t>Population groups: Female sex workers and other females with multiple partners (2+, “medium risk”)</a:t>
            </a:r>
            <a:endParaRPr lang="en-GB" sz="2800" b="0" i="1" dirty="0">
              <a:solidFill>
                <a:schemeClr val="tx1">
                  <a:lumMod val="65000"/>
                  <a:lumOff val="35000"/>
                </a:schemeClr>
              </a:solidFill>
            </a:endParaRPr>
          </a:p>
          <a:p>
            <a:pPr marL="457200" indent="-457200">
              <a:spcAft>
                <a:spcPts val="600"/>
              </a:spcAft>
              <a:buFont typeface="+mj-lt"/>
              <a:buAutoNum type="arabicPeriod"/>
            </a:pPr>
            <a:r>
              <a:rPr lang="en-GB" sz="2800" b="0" dirty="0">
                <a:solidFill>
                  <a:schemeClr val="tx1">
                    <a:lumMod val="65000"/>
                    <a:lumOff val="35000"/>
                  </a:schemeClr>
                </a:solidFill>
              </a:rPr>
              <a:t>Age groups: adolescent girls (15-20) and young women (20-25)</a:t>
            </a:r>
          </a:p>
          <a:p>
            <a:pPr marL="457200" indent="-457200">
              <a:spcAft>
                <a:spcPts val="600"/>
              </a:spcAft>
              <a:buFont typeface="+mj-lt"/>
              <a:buAutoNum type="arabicPeriod"/>
            </a:pPr>
            <a:r>
              <a:rPr lang="en-GB" sz="2800" b="0" dirty="0">
                <a:solidFill>
                  <a:schemeClr val="tx1">
                    <a:lumMod val="65000"/>
                    <a:lumOff val="35000"/>
                  </a:schemeClr>
                </a:solidFill>
              </a:rPr>
              <a:t>Coverage scenario: 40% (oral </a:t>
            </a:r>
            <a:r>
              <a:rPr lang="en-GB" sz="2800" b="0" dirty="0" err="1">
                <a:solidFill>
                  <a:schemeClr val="tx1">
                    <a:lumMod val="65000"/>
                    <a:lumOff val="35000"/>
                  </a:schemeClr>
                </a:solidFill>
              </a:rPr>
              <a:t>PrEP</a:t>
            </a:r>
            <a:r>
              <a:rPr lang="en-GB" sz="2800" b="0" dirty="0">
                <a:solidFill>
                  <a:schemeClr val="tx1">
                    <a:lumMod val="65000"/>
                    <a:lumOff val="35000"/>
                  </a:schemeClr>
                </a:solidFill>
              </a:rPr>
              <a:t>) and 90% (ART) of the target population</a:t>
            </a:r>
          </a:p>
          <a:p>
            <a:pPr marL="457200" indent="-457200">
              <a:spcAft>
                <a:spcPts val="600"/>
              </a:spcAft>
              <a:buFont typeface="+mj-lt"/>
              <a:buAutoNum type="arabicPeriod"/>
            </a:pPr>
            <a:r>
              <a:rPr lang="en-GB" dirty="0">
                <a:solidFill>
                  <a:schemeClr val="tx1">
                    <a:lumMod val="65000"/>
                    <a:lumOff val="35000"/>
                  </a:schemeClr>
                </a:solidFill>
              </a:rPr>
              <a:t>ART </a:t>
            </a:r>
            <a:r>
              <a:rPr lang="en-GB" sz="2800" b="0" dirty="0">
                <a:solidFill>
                  <a:schemeClr val="tx1">
                    <a:lumMod val="65000"/>
                    <a:lumOff val="35000"/>
                  </a:schemeClr>
                </a:solidFill>
              </a:rPr>
              <a:t>scenarios:</a:t>
            </a:r>
          </a:p>
          <a:p>
            <a:pPr marL="914400" lvl="1" indent="-514350">
              <a:buFont typeface="+mj-lt"/>
              <a:buAutoNum type="alphaLcPeriod"/>
            </a:pPr>
            <a:r>
              <a:rPr lang="en-GB" b="0" dirty="0">
                <a:solidFill>
                  <a:schemeClr val="tx1">
                    <a:lumMod val="65000"/>
                    <a:lumOff val="35000"/>
                  </a:schemeClr>
                </a:solidFill>
              </a:rPr>
              <a:t>Maintain current level of coverage.</a:t>
            </a:r>
          </a:p>
          <a:p>
            <a:pPr marL="914400" lvl="1" indent="-514350">
              <a:buFont typeface="+mj-lt"/>
              <a:buAutoNum type="alphaLcPeriod"/>
            </a:pPr>
            <a:r>
              <a:rPr lang="en-GB" dirty="0">
                <a:solidFill>
                  <a:schemeClr val="tx1">
                    <a:lumMod val="65000"/>
                    <a:lumOff val="35000"/>
                  </a:schemeClr>
                </a:solidFill>
              </a:rPr>
              <a:t>Scale up to reach </a:t>
            </a:r>
            <a:r>
              <a:rPr lang="en-GB" b="0" dirty="0">
                <a:solidFill>
                  <a:schemeClr val="tx1">
                    <a:lumMod val="65000"/>
                    <a:lumOff val="35000"/>
                  </a:schemeClr>
                </a:solidFill>
              </a:rPr>
              <a:t>UNAIDS 90-90-90 targets.</a:t>
            </a:r>
            <a:endParaRPr lang="en-GB" b="0" i="1" dirty="0">
              <a:solidFill>
                <a:schemeClr val="tx1">
                  <a:lumMod val="65000"/>
                  <a:lumOff val="35000"/>
                </a:schemeClr>
              </a:solidFill>
            </a:endParaRPr>
          </a:p>
          <a:p>
            <a:pPr marL="457200" indent="-457200">
              <a:buFont typeface="+mj-lt"/>
              <a:buAutoNum type="arabicPeriod"/>
            </a:pPr>
            <a:endParaRPr lang="en-GB" sz="2800" b="0" dirty="0">
              <a:solidFill>
                <a:schemeClr val="tx1"/>
              </a:solidFill>
            </a:endParaRPr>
          </a:p>
          <a:p>
            <a:pPr marL="457200" indent="-457200">
              <a:buFont typeface="+mj-lt"/>
              <a:buAutoNum type="arabicPeriod"/>
            </a:pPr>
            <a:endParaRPr lang="en-GB" sz="2800" b="0" dirty="0">
              <a:solidFill>
                <a:schemeClr val="tx1"/>
              </a:solidFill>
            </a:endParaRPr>
          </a:p>
          <a:p>
            <a:pPr marL="457200" indent="-457200">
              <a:buFont typeface="+mj-lt"/>
              <a:buAutoNum type="arabicPeriod"/>
            </a:pPr>
            <a:endParaRPr lang="en-GB" sz="2800" b="0" dirty="0">
              <a:solidFill>
                <a:schemeClr val="tx1"/>
              </a:solidFill>
            </a:endParaRPr>
          </a:p>
          <a:p>
            <a:pPr marL="457200" indent="-457200">
              <a:buNone/>
            </a:pPr>
            <a:endParaRPr lang="en-GB" sz="2800" b="0" dirty="0">
              <a:solidFill>
                <a:schemeClr val="tx1"/>
              </a:solidFill>
            </a:endParaRPr>
          </a:p>
        </p:txBody>
      </p:sp>
    </p:spTree>
    <p:extLst>
      <p:ext uri="{BB962C8B-B14F-4D97-AF65-F5344CB8AC3E}">
        <p14:creationId xmlns:p14="http://schemas.microsoft.com/office/powerpoint/2010/main" val="1630425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37614" y="691662"/>
            <a:ext cx="8428967" cy="791738"/>
          </a:xfrm>
          <a:prstGeom prst="rect">
            <a:avLst/>
          </a:prstGeom>
        </p:spPr>
        <p:txBody>
          <a:bodyPr/>
          <a:lstStyle/>
          <a:p>
            <a:pPr algn="l"/>
            <a:r>
              <a:rPr lang="en-US" sz="3200" dirty="0">
                <a:solidFill>
                  <a:srgbClr val="178793"/>
                </a:solidFill>
                <a:latin typeface="Gill Sans MT" charset="0"/>
                <a:ea typeface="Gill Sans MT" charset="0"/>
                <a:cs typeface="Gill Sans MT" charset="0"/>
              </a:rPr>
              <a:t>Microbicide Product Introduction Initiative (MPii)</a:t>
            </a:r>
          </a:p>
        </p:txBody>
      </p:sp>
      <p:sp>
        <p:nvSpPr>
          <p:cNvPr id="10" name="Rectangle 9"/>
          <p:cNvSpPr/>
          <p:nvPr/>
        </p:nvSpPr>
        <p:spPr>
          <a:xfrm>
            <a:off x="163398" y="2105181"/>
            <a:ext cx="8777401" cy="11723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TextBox 20"/>
          <p:cNvSpPr txBox="1"/>
          <p:nvPr/>
        </p:nvSpPr>
        <p:spPr>
          <a:xfrm>
            <a:off x="2314143" y="3340745"/>
            <a:ext cx="1422184" cy="1015663"/>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Cost Effectiv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Scalable Delivery</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Facility Level</a:t>
            </a:r>
          </a:p>
        </p:txBody>
      </p:sp>
      <p:sp>
        <p:nvSpPr>
          <p:cNvPr id="22" name="TextBox 21"/>
          <p:cNvSpPr txBox="1"/>
          <p:nvPr/>
        </p:nvSpPr>
        <p:spPr>
          <a:xfrm>
            <a:off x="308818" y="3340745"/>
            <a:ext cx="1752404" cy="1015663"/>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Gill Sans MT" panose="020B0502020104020203" pitchFamily="34" charset="0"/>
              </a:rPr>
              <a:t>Systems Thinki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Gill Sans MT" panose="020B0502020104020203" pitchFamily="34" charset="0"/>
              </a:rPr>
              <a:t>Technical Assistanc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effectLst/>
              <a:uLnTx/>
              <a:uFillTx/>
              <a:latin typeface="Gill Sans MT" panose="020B05020201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effectLst/>
              <a:uLnTx/>
              <a:uFillTx/>
              <a:latin typeface="Gill Sans MT" panose="020B0502020104020203"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Gill Sans MT" panose="020B0502020104020203" pitchFamily="34" charset="0"/>
              </a:rPr>
              <a:t>National/Sub-national</a:t>
            </a:r>
          </a:p>
        </p:txBody>
      </p:sp>
      <p:grpSp>
        <p:nvGrpSpPr>
          <p:cNvPr id="6" name="Group 5"/>
          <p:cNvGrpSpPr/>
          <p:nvPr/>
        </p:nvGrpSpPr>
        <p:grpSpPr>
          <a:xfrm>
            <a:off x="4053202" y="2350259"/>
            <a:ext cx="4654436" cy="2059052"/>
            <a:chOff x="221688" y="2308246"/>
            <a:chExt cx="4654436" cy="2059052"/>
          </a:xfrm>
        </p:grpSpPr>
        <p:sp>
          <p:nvSpPr>
            <p:cNvPr id="11" name="Rectangle 10"/>
            <p:cNvSpPr/>
            <p:nvPr/>
          </p:nvSpPr>
          <p:spPr>
            <a:xfrm>
              <a:off x="336525" y="2308246"/>
              <a:ext cx="1276694" cy="8346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TextBox 17"/>
            <p:cNvSpPr txBox="1"/>
            <p:nvPr/>
          </p:nvSpPr>
          <p:spPr>
            <a:xfrm>
              <a:off x="221688" y="3367265"/>
              <a:ext cx="1407758"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Intima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Partner Violence</a:t>
              </a:r>
            </a:p>
          </p:txBody>
        </p:sp>
        <p:sp>
          <p:nvSpPr>
            <p:cNvPr id="19" name="TextBox 18"/>
            <p:cNvSpPr txBox="1"/>
            <p:nvPr/>
          </p:nvSpPr>
          <p:spPr>
            <a:xfrm>
              <a:off x="1875885" y="3367265"/>
              <a:ext cx="1401346"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Huma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Centered Design</a:t>
              </a:r>
            </a:p>
          </p:txBody>
        </p:sp>
        <p:sp>
          <p:nvSpPr>
            <p:cNvPr id="20" name="TextBox 19"/>
            <p:cNvSpPr txBox="1"/>
            <p:nvPr/>
          </p:nvSpPr>
          <p:spPr>
            <a:xfrm>
              <a:off x="3889954" y="3367265"/>
              <a:ext cx="986168" cy="46166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Resistan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Monitoring</a:t>
              </a:r>
            </a:p>
          </p:txBody>
        </p:sp>
        <p:sp>
          <p:nvSpPr>
            <p:cNvPr id="23" name="Rectangle 22"/>
            <p:cNvSpPr/>
            <p:nvPr/>
          </p:nvSpPr>
          <p:spPr>
            <a:xfrm>
              <a:off x="1936801" y="4090299"/>
              <a:ext cx="1279517" cy="276999"/>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Gill Sans MT" panose="020B0502020104020203" pitchFamily="34" charset="0"/>
                </a:rPr>
                <a:t>End User Level</a:t>
              </a:r>
            </a:p>
          </p:txBody>
        </p:sp>
        <p:sp>
          <p:nvSpPr>
            <p:cNvPr id="24" name="Left Brace 23"/>
            <p:cNvSpPr/>
            <p:nvPr/>
          </p:nvSpPr>
          <p:spPr>
            <a:xfrm rot="16200000">
              <a:off x="2424361" y="1638535"/>
              <a:ext cx="261370" cy="4642157"/>
            </a:xfrm>
            <a:prstGeom prst="leftBrace">
              <a:avLst/>
            </a:prstGeom>
            <a:noFill/>
            <a:ln>
              <a:solidFill>
                <a:srgbClr val="178793"/>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4" name="Rectangle 3"/>
          <p:cNvSpPr/>
          <p:nvPr/>
        </p:nvSpPr>
        <p:spPr>
          <a:xfrm>
            <a:off x="240145" y="2105181"/>
            <a:ext cx="1889750" cy="2706964"/>
          </a:xfrm>
          <a:prstGeom prst="rect">
            <a:avLst/>
          </a:prstGeom>
          <a:noFill/>
          <a:ln w="34925"/>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pic>
        <p:nvPicPr>
          <p:cNvPr id="3" name="Picture 2"/>
          <p:cNvPicPr>
            <a:picLocks noChangeAspect="1"/>
          </p:cNvPicPr>
          <p:nvPr/>
        </p:nvPicPr>
        <p:blipFill>
          <a:blip r:embed="rId3"/>
          <a:stretch>
            <a:fillRect/>
          </a:stretch>
        </p:blipFill>
        <p:spPr>
          <a:xfrm>
            <a:off x="176264" y="2397764"/>
            <a:ext cx="1964625" cy="708718"/>
          </a:xfrm>
          <a:prstGeom prst="rect">
            <a:avLst/>
          </a:prstGeom>
        </p:spPr>
      </p:pic>
      <p:pic>
        <p:nvPicPr>
          <p:cNvPr id="5" name="Picture 4"/>
          <p:cNvPicPr>
            <a:picLocks noChangeAspect="1"/>
          </p:cNvPicPr>
          <p:nvPr/>
        </p:nvPicPr>
        <p:blipFill>
          <a:blip r:embed="rId4"/>
          <a:stretch>
            <a:fillRect/>
          </a:stretch>
        </p:blipFill>
        <p:spPr>
          <a:xfrm>
            <a:off x="2300010" y="2375607"/>
            <a:ext cx="1437956" cy="772062"/>
          </a:xfrm>
          <a:prstGeom prst="rect">
            <a:avLst/>
          </a:prstGeom>
        </p:spPr>
      </p:pic>
      <p:pic>
        <p:nvPicPr>
          <p:cNvPr id="7" name="Picture 6"/>
          <p:cNvPicPr>
            <a:picLocks noChangeAspect="1"/>
          </p:cNvPicPr>
          <p:nvPr/>
        </p:nvPicPr>
        <p:blipFill>
          <a:blip r:embed="rId5"/>
          <a:stretch>
            <a:fillRect/>
          </a:stretch>
        </p:blipFill>
        <p:spPr>
          <a:xfrm>
            <a:off x="4144422" y="2214263"/>
            <a:ext cx="1173778" cy="903824"/>
          </a:xfrm>
          <a:prstGeom prst="rect">
            <a:avLst/>
          </a:prstGeom>
        </p:spPr>
      </p:pic>
      <p:pic>
        <p:nvPicPr>
          <p:cNvPr id="8" name="Picture 7"/>
          <p:cNvPicPr>
            <a:picLocks noChangeAspect="1"/>
          </p:cNvPicPr>
          <p:nvPr/>
        </p:nvPicPr>
        <p:blipFill>
          <a:blip r:embed="rId6"/>
          <a:stretch>
            <a:fillRect/>
          </a:stretch>
        </p:blipFill>
        <p:spPr>
          <a:xfrm>
            <a:off x="5724656" y="2350259"/>
            <a:ext cx="1337432" cy="734146"/>
          </a:xfrm>
          <a:prstGeom prst="rect">
            <a:avLst/>
          </a:prstGeom>
        </p:spPr>
      </p:pic>
      <p:pic>
        <p:nvPicPr>
          <p:cNvPr id="9" name="Picture 8"/>
          <p:cNvPicPr>
            <a:picLocks noChangeAspect="1"/>
          </p:cNvPicPr>
          <p:nvPr/>
        </p:nvPicPr>
        <p:blipFill>
          <a:blip r:embed="rId7"/>
          <a:stretch>
            <a:fillRect/>
          </a:stretch>
        </p:blipFill>
        <p:spPr>
          <a:xfrm>
            <a:off x="7257889" y="2514052"/>
            <a:ext cx="1487108" cy="570353"/>
          </a:xfrm>
          <a:prstGeom prst="rect">
            <a:avLst/>
          </a:prstGeom>
        </p:spPr>
      </p:pic>
    </p:spTree>
    <p:extLst>
      <p:ext uri="{BB962C8B-B14F-4D97-AF65-F5344CB8AC3E}">
        <p14:creationId xmlns:p14="http://schemas.microsoft.com/office/powerpoint/2010/main" val="4912618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17170" y="262665"/>
            <a:ext cx="8583930" cy="699179"/>
          </a:xfrm>
        </p:spPr>
        <p:txBody>
          <a:bodyPr/>
          <a:lstStyle/>
          <a:p>
            <a:r>
              <a:rPr lang="en-US" sz="3200" dirty="0"/>
              <a:t>Impact: oral </a:t>
            </a:r>
            <a:r>
              <a:rPr lang="en-US" sz="3200" dirty="0" err="1"/>
              <a:t>PrEP</a:t>
            </a:r>
            <a:r>
              <a:rPr lang="en-US" sz="3200" dirty="0"/>
              <a:t> for different subpopulations</a:t>
            </a:r>
          </a:p>
        </p:txBody>
      </p:sp>
      <p:sp>
        <p:nvSpPr>
          <p:cNvPr id="3" name="Text Placeholder 2"/>
          <p:cNvSpPr>
            <a:spLocks noGrp="1"/>
          </p:cNvSpPr>
          <p:nvPr>
            <p:ph type="body" sz="quarter" idx="10"/>
          </p:nvPr>
        </p:nvSpPr>
        <p:spPr>
          <a:xfrm>
            <a:off x="76203" y="1177290"/>
            <a:ext cx="2794782" cy="5269230"/>
          </a:xfrm>
        </p:spPr>
        <p:txBody>
          <a:bodyPr/>
          <a:lstStyle/>
          <a:p>
            <a:r>
              <a:rPr lang="en-US" sz="2000" dirty="0"/>
              <a:t>2017-2030</a:t>
            </a:r>
          </a:p>
          <a:p>
            <a:r>
              <a:rPr lang="en-US" sz="2000" dirty="0"/>
              <a:t>Oral </a:t>
            </a:r>
            <a:r>
              <a:rPr lang="en-US" sz="2000" dirty="0" err="1"/>
              <a:t>PrEP</a:t>
            </a:r>
            <a:r>
              <a:rPr lang="en-US" sz="2000" dirty="0"/>
              <a:t> for 5yrs</a:t>
            </a:r>
          </a:p>
          <a:p>
            <a:r>
              <a:rPr lang="en-US" sz="2000" dirty="0"/>
              <a:t>Oral PrEP for ages 15-20 averts more HIV infections than oral PrEP for ages 20-25</a:t>
            </a:r>
          </a:p>
          <a:p>
            <a:r>
              <a:rPr lang="en-US" sz="2000" dirty="0"/>
              <a:t>Addition of medium risk women averts additional HIV infections</a:t>
            </a:r>
          </a:p>
          <a:p>
            <a:r>
              <a:rPr lang="en-US" sz="2000" dirty="0"/>
              <a:t>HIV treatment scale-up  slightly reduces oral PrEP effectiveness (not shown)</a:t>
            </a:r>
          </a:p>
          <a:p>
            <a:endParaRPr lang="en-US" sz="2000" dirty="0"/>
          </a:p>
        </p:txBody>
      </p:sp>
      <p:pic>
        <p:nvPicPr>
          <p:cNvPr id="4" name="Picture 3"/>
          <p:cNvPicPr>
            <a:picLocks noChangeAspect="1"/>
          </p:cNvPicPr>
          <p:nvPr/>
        </p:nvPicPr>
        <p:blipFill>
          <a:blip r:embed="rId3"/>
          <a:stretch>
            <a:fillRect/>
          </a:stretch>
        </p:blipFill>
        <p:spPr>
          <a:xfrm>
            <a:off x="2870984" y="1402397"/>
            <a:ext cx="6216743" cy="5223289"/>
          </a:xfrm>
          <a:prstGeom prst="rect">
            <a:avLst/>
          </a:prstGeom>
        </p:spPr>
      </p:pic>
    </p:spTree>
    <p:extLst>
      <p:ext uri="{BB962C8B-B14F-4D97-AF65-F5344CB8AC3E}">
        <p14:creationId xmlns:p14="http://schemas.microsoft.com/office/powerpoint/2010/main" val="17989083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1373482" y="381188"/>
            <a:ext cx="7253654" cy="972441"/>
          </a:xfrm>
        </p:spPr>
        <p:txBody>
          <a:bodyPr/>
          <a:lstStyle/>
          <a:p>
            <a:r>
              <a:rPr lang="en-US" sz="3600" dirty="0"/>
              <a:t>Cost-effectiveness: oral </a:t>
            </a:r>
            <a:r>
              <a:rPr lang="en-US" sz="3600" dirty="0" err="1"/>
              <a:t>PrEP</a:t>
            </a:r>
            <a:r>
              <a:rPr lang="en-US" sz="3600" dirty="0"/>
              <a:t> for different subpopulations in Zimbabwe</a:t>
            </a:r>
            <a:br>
              <a:rPr lang="en-US" sz="3600" dirty="0"/>
            </a:br>
            <a:endParaRPr lang="en-US" sz="3600" dirty="0"/>
          </a:p>
        </p:txBody>
      </p:sp>
      <p:pic>
        <p:nvPicPr>
          <p:cNvPr id="6" name="Picture 5"/>
          <p:cNvPicPr>
            <a:picLocks noChangeAspect="1"/>
          </p:cNvPicPr>
          <p:nvPr/>
        </p:nvPicPr>
        <p:blipFill>
          <a:blip r:embed="rId2"/>
          <a:stretch>
            <a:fillRect/>
          </a:stretch>
        </p:blipFill>
        <p:spPr>
          <a:xfrm>
            <a:off x="679056" y="1559033"/>
            <a:ext cx="7785889" cy="5121904"/>
          </a:xfrm>
          <a:prstGeom prst="rect">
            <a:avLst/>
          </a:prstGeom>
        </p:spPr>
      </p:pic>
    </p:spTree>
    <p:extLst>
      <p:ext uri="{BB962C8B-B14F-4D97-AF65-F5344CB8AC3E}">
        <p14:creationId xmlns:p14="http://schemas.microsoft.com/office/powerpoint/2010/main" val="11686778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1433146" y="576072"/>
            <a:ext cx="7253654" cy="841565"/>
          </a:xfrm>
        </p:spPr>
        <p:txBody>
          <a:bodyPr/>
          <a:lstStyle/>
          <a:p>
            <a:r>
              <a:rPr lang="en-US" sz="3200" dirty="0"/>
              <a:t>Results: community benefit of oral </a:t>
            </a:r>
            <a:r>
              <a:rPr lang="en-US" sz="3200" dirty="0" err="1"/>
              <a:t>PrEP</a:t>
            </a:r>
            <a:endParaRPr lang="en-US" sz="3200" dirty="0"/>
          </a:p>
        </p:txBody>
      </p:sp>
      <p:sp>
        <p:nvSpPr>
          <p:cNvPr id="5" name="Text Placeholder 4"/>
          <p:cNvSpPr>
            <a:spLocks noGrp="1"/>
          </p:cNvSpPr>
          <p:nvPr>
            <p:ph type="body" sz="quarter" idx="10"/>
          </p:nvPr>
        </p:nvSpPr>
        <p:spPr>
          <a:xfrm>
            <a:off x="457200" y="1264285"/>
            <a:ext cx="8229600" cy="427355"/>
          </a:xfrm>
        </p:spPr>
        <p:txBody>
          <a:bodyPr/>
          <a:lstStyle/>
          <a:p>
            <a:pPr marL="0" indent="0" algn="ctr">
              <a:buNone/>
            </a:pPr>
            <a:r>
              <a:rPr lang="en-US" sz="2000" dirty="0"/>
              <a:t>Results for 5- and 20-year horizons were averaged over 1000 replicates.</a:t>
            </a:r>
          </a:p>
          <a:p>
            <a:pPr algn="ctr"/>
            <a:endParaRPr lang="en-US" sz="2000" dirty="0"/>
          </a:p>
        </p:txBody>
      </p:sp>
      <p:sp>
        <p:nvSpPr>
          <p:cNvPr id="6" name="Rectangle 5"/>
          <p:cNvSpPr/>
          <p:nvPr/>
        </p:nvSpPr>
        <p:spPr>
          <a:xfrm>
            <a:off x="882477" y="6008381"/>
            <a:ext cx="7166941" cy="646331"/>
          </a:xfrm>
          <a:prstGeom prst="rect">
            <a:avLst/>
          </a:prstGeom>
        </p:spPr>
        <p:txBody>
          <a:bodyPr wrap="square">
            <a:spAutoFit/>
          </a:bodyPr>
          <a:lstStyle/>
          <a:p>
            <a:r>
              <a:rPr lang="en-GB" dirty="0">
                <a:solidFill>
                  <a:srgbClr val="535352"/>
                </a:solidFill>
                <a:latin typeface="Calibri"/>
                <a:cs typeface="Calibri"/>
              </a:rPr>
              <a:t>Figure: Ratios of secondary to primary HIV infections averted in each risk group for 5 and 20 years.</a:t>
            </a:r>
            <a:endParaRPr lang="en-US" dirty="0">
              <a:solidFill>
                <a:srgbClr val="535352"/>
              </a:solidFill>
              <a:latin typeface="Calibri"/>
              <a:cs typeface="Calibri"/>
            </a:endParaRPr>
          </a:p>
        </p:txBody>
      </p:sp>
      <p:pic>
        <p:nvPicPr>
          <p:cNvPr id="7" name="Picture 6"/>
          <p:cNvPicPr>
            <a:picLocks noChangeAspect="1"/>
          </p:cNvPicPr>
          <p:nvPr/>
        </p:nvPicPr>
        <p:blipFill>
          <a:blip r:embed="rId2"/>
          <a:stretch>
            <a:fillRect/>
          </a:stretch>
        </p:blipFill>
        <p:spPr>
          <a:xfrm>
            <a:off x="891621" y="1605827"/>
            <a:ext cx="7337979" cy="4543866"/>
          </a:xfrm>
          <a:prstGeom prst="rect">
            <a:avLst/>
          </a:prstGeom>
        </p:spPr>
      </p:pic>
    </p:spTree>
    <p:extLst>
      <p:ext uri="{BB962C8B-B14F-4D97-AF65-F5344CB8AC3E}">
        <p14:creationId xmlns:p14="http://schemas.microsoft.com/office/powerpoint/2010/main" val="4554341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14894"/>
            <a:ext cx="7978140" cy="742723"/>
          </a:xfrm>
        </p:spPr>
        <p:txBody>
          <a:bodyPr/>
          <a:lstStyle/>
          <a:p>
            <a:r>
              <a:rPr lang="en-US" dirty="0"/>
              <a:t>Preliminary conclusions</a:t>
            </a:r>
          </a:p>
        </p:txBody>
      </p:sp>
      <p:sp>
        <p:nvSpPr>
          <p:cNvPr id="3" name="Text Placeholder 2"/>
          <p:cNvSpPr>
            <a:spLocks noGrp="1"/>
          </p:cNvSpPr>
          <p:nvPr>
            <p:ph type="body" sz="quarter" idx="10"/>
          </p:nvPr>
        </p:nvSpPr>
        <p:spPr>
          <a:xfrm>
            <a:off x="457200" y="1599655"/>
            <a:ext cx="8229600" cy="4258773"/>
          </a:xfrm>
        </p:spPr>
        <p:txBody>
          <a:bodyPr>
            <a:normAutofit fontScale="92500"/>
          </a:bodyPr>
          <a:lstStyle/>
          <a:p>
            <a:r>
              <a:rPr lang="en-US" sz="2800" dirty="0"/>
              <a:t>Among high risk women, providing oral </a:t>
            </a:r>
            <a:r>
              <a:rPr lang="en-US" sz="2800" dirty="0" err="1"/>
              <a:t>PrEP</a:t>
            </a:r>
            <a:r>
              <a:rPr lang="en-US" sz="2800" dirty="0"/>
              <a:t> to younger age groups is both more impactful and more cost-effective</a:t>
            </a:r>
          </a:p>
          <a:p>
            <a:pPr lvl="1"/>
            <a:r>
              <a:rPr lang="en-US" sz="2400" dirty="0"/>
              <a:t>The highest risk individuals get infected first…</a:t>
            </a:r>
          </a:p>
          <a:p>
            <a:r>
              <a:rPr lang="en-US" sz="2800" dirty="0"/>
              <a:t>Providing oral </a:t>
            </a:r>
            <a:r>
              <a:rPr lang="en-US" sz="2800" dirty="0" err="1"/>
              <a:t>PrEP</a:t>
            </a:r>
            <a:r>
              <a:rPr lang="en-US" sz="2800" dirty="0"/>
              <a:t> to higher risk individuals is more cost-effective but may produce a lower overall impact</a:t>
            </a:r>
          </a:p>
          <a:p>
            <a:pPr lvl="1"/>
            <a:r>
              <a:rPr lang="en-US" sz="2400" dirty="0"/>
              <a:t>A lot more </a:t>
            </a:r>
            <a:r>
              <a:rPr lang="en-US" sz="2400" dirty="0" err="1"/>
              <a:t>PrEP</a:t>
            </a:r>
            <a:endParaRPr lang="en-US" sz="2400" dirty="0"/>
          </a:p>
          <a:p>
            <a:pPr lvl="1"/>
            <a:r>
              <a:rPr lang="en-US" sz="2400" dirty="0"/>
              <a:t>Although FSW are the most likely to be infected and most likely to infect, what proportion of transmission do they contribute at endemicity?</a:t>
            </a:r>
          </a:p>
          <a:p>
            <a:endParaRPr lang="en-US" dirty="0"/>
          </a:p>
        </p:txBody>
      </p:sp>
    </p:spTree>
    <p:extLst>
      <p:ext uri="{BB962C8B-B14F-4D97-AF65-F5344CB8AC3E}">
        <p14:creationId xmlns:p14="http://schemas.microsoft.com/office/powerpoint/2010/main" val="7813177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905E5-089F-9840-A8C7-1B21C196F45C}"/>
              </a:ext>
            </a:extLst>
          </p:cNvPr>
          <p:cNvSpPr>
            <a:spLocks noGrp="1"/>
          </p:cNvSpPr>
          <p:nvPr>
            <p:ph type="title"/>
          </p:nvPr>
        </p:nvSpPr>
        <p:spPr/>
        <p:txBody>
          <a:bodyPr/>
          <a:lstStyle/>
          <a:p>
            <a:r>
              <a:rPr lang="en-US" dirty="0"/>
              <a:t>How to use the results</a:t>
            </a:r>
          </a:p>
        </p:txBody>
      </p:sp>
      <p:sp>
        <p:nvSpPr>
          <p:cNvPr id="3" name="Text Placeholder 2">
            <a:extLst>
              <a:ext uri="{FF2B5EF4-FFF2-40B4-BE49-F238E27FC236}">
                <a16:creationId xmlns:a16="http://schemas.microsoft.com/office/drawing/2014/main" id="{93C99C55-010A-0046-9EA5-D22B949839AB}"/>
              </a:ext>
            </a:extLst>
          </p:cNvPr>
          <p:cNvSpPr>
            <a:spLocks noGrp="1"/>
          </p:cNvSpPr>
          <p:nvPr>
            <p:ph type="body" sz="quarter" idx="10"/>
          </p:nvPr>
        </p:nvSpPr>
        <p:spPr>
          <a:xfrm>
            <a:off x="457200" y="1584325"/>
            <a:ext cx="8229600" cy="4955020"/>
          </a:xfrm>
        </p:spPr>
        <p:txBody>
          <a:bodyPr/>
          <a:lstStyle/>
          <a:p>
            <a:r>
              <a:rPr lang="en-US" sz="2400" dirty="0"/>
              <a:t>Modelling tends to produces specific results for specific populations (at specific times)</a:t>
            </a:r>
          </a:p>
          <a:p>
            <a:pPr lvl="1"/>
            <a:r>
              <a:rPr lang="en-US" sz="2000" dirty="0"/>
              <a:t>Long, arduous, data-hungry process</a:t>
            </a:r>
          </a:p>
          <a:p>
            <a:r>
              <a:rPr lang="en-US" sz="2400" dirty="0"/>
              <a:t>We plan to fit to Zimbabwe and Kenya sub-nationally and use the variability within the fits to generate a </a:t>
            </a:r>
            <a:r>
              <a:rPr lang="en-US" sz="2400" i="1" dirty="0"/>
              <a:t>catalogue</a:t>
            </a:r>
            <a:r>
              <a:rPr lang="en-US" sz="2400" dirty="0"/>
              <a:t> of outcomes</a:t>
            </a:r>
          </a:p>
          <a:p>
            <a:r>
              <a:rPr lang="en-US" sz="2400" dirty="0"/>
              <a:t>Search the </a:t>
            </a:r>
            <a:r>
              <a:rPr lang="en-US" sz="2400" i="1" dirty="0"/>
              <a:t>catalogue</a:t>
            </a:r>
            <a:r>
              <a:rPr lang="en-US" sz="2400" dirty="0"/>
              <a:t> for the (measurable) drivers of </a:t>
            </a:r>
            <a:r>
              <a:rPr lang="en-US" sz="2400" dirty="0" err="1"/>
              <a:t>PrEP</a:t>
            </a:r>
            <a:r>
              <a:rPr lang="en-US" sz="2400" dirty="0"/>
              <a:t> effectiveness and cost-effectiveness</a:t>
            </a:r>
          </a:p>
          <a:p>
            <a:r>
              <a:rPr lang="en-US" sz="2400" dirty="0"/>
              <a:t>Derive a relatively simple tool for deciding </a:t>
            </a:r>
            <a:r>
              <a:rPr lang="en-US" sz="2400" dirty="0" err="1"/>
              <a:t>PrEP</a:t>
            </a:r>
            <a:r>
              <a:rPr lang="en-US" sz="2400" dirty="0"/>
              <a:t> strategy</a:t>
            </a:r>
          </a:p>
          <a:p>
            <a:pPr lvl="1"/>
            <a:r>
              <a:rPr lang="en-US" sz="2000" dirty="0"/>
              <a:t>E.g. if prevalence in AGYW is &gt;2%, and &lt;75% of known male infections on ART, then </a:t>
            </a:r>
            <a:r>
              <a:rPr lang="en-US" sz="2000" dirty="0" err="1"/>
              <a:t>PrEP</a:t>
            </a:r>
            <a:r>
              <a:rPr lang="en-US" sz="2000" dirty="0"/>
              <a:t> targeted to women with 2+ partners will likely have the following effects…</a:t>
            </a:r>
          </a:p>
          <a:p>
            <a:endParaRPr lang="en-US" dirty="0"/>
          </a:p>
        </p:txBody>
      </p:sp>
    </p:spTree>
    <p:extLst>
      <p:ext uri="{BB962C8B-B14F-4D97-AF65-F5344CB8AC3E}">
        <p14:creationId xmlns:p14="http://schemas.microsoft.com/office/powerpoint/2010/main" val="21769496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200" y="1665829"/>
            <a:ext cx="7403947" cy="5039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custDataLst>
              <p:tags r:id="rId1"/>
            </p:custDataLst>
          </p:nvPr>
        </p:nvSpPr>
        <p:spPr>
          <a:xfrm>
            <a:off x="76200" y="1371600"/>
            <a:ext cx="4063425" cy="261610"/>
          </a:xfrm>
          <a:prstGeom prst="rect">
            <a:avLst/>
          </a:prstGeom>
          <a:noFill/>
          <a:ln>
            <a:noFill/>
            <a:prstDash val="sysDot"/>
          </a:ln>
        </p:spPr>
        <p:txBody>
          <a:bodyPr wrap="square" rtlCol="0">
            <a:spAutoFit/>
          </a:bodyPr>
          <a:lstStyle/>
          <a:p>
            <a:r>
              <a:rPr lang="en-US" sz="1100" i="1" dirty="0">
                <a:solidFill>
                  <a:schemeClr val="tx1">
                    <a:lumMod val="75000"/>
                    <a:lumOff val="25000"/>
                  </a:schemeClr>
                </a:solidFill>
              </a:rPr>
              <a:t>Circle size represents number of 2015 adult new infections</a:t>
            </a:r>
          </a:p>
        </p:txBody>
      </p:sp>
      <p:sp>
        <p:nvSpPr>
          <p:cNvPr id="6" name="Title 1"/>
          <p:cNvSpPr txBox="1">
            <a:spLocks/>
          </p:cNvSpPr>
          <p:nvPr>
            <p:custDataLst>
              <p:tags r:id="rId2"/>
            </p:custDataLst>
          </p:nvPr>
        </p:nvSpPr>
        <p:spPr>
          <a:xfrm>
            <a:off x="76200" y="990600"/>
            <a:ext cx="8736450" cy="363389"/>
          </a:xfrm>
          <a:prstGeom prst="rect">
            <a:avLst/>
          </a:prstGeom>
        </p:spPr>
        <p:txBody>
          <a:bodyPr vert="horz"/>
          <a:lstStyle>
            <a:lvl1pPr algn="l" defTabSz="457200" rtl="0" eaLnBrk="1" latinLnBrk="0" hangingPunct="1">
              <a:lnSpc>
                <a:spcPts val="4480"/>
              </a:lnSpc>
              <a:spcBef>
                <a:spcPct val="0"/>
              </a:spcBef>
              <a:spcAft>
                <a:spcPts val="0"/>
              </a:spcAft>
              <a:buNone/>
              <a:defRPr sz="4400" kern="1200" baseline="0">
                <a:solidFill>
                  <a:srgbClr val="595959"/>
                </a:solidFill>
                <a:latin typeface="+mj-lt"/>
                <a:ea typeface="+mj-ea"/>
                <a:cs typeface="+mj-cs"/>
              </a:defRPr>
            </a:lvl1pPr>
          </a:lstStyle>
          <a:p>
            <a:pPr>
              <a:lnSpc>
                <a:spcPct val="100000"/>
              </a:lnSpc>
            </a:pPr>
            <a:r>
              <a:rPr lang="en-US" sz="1800" b="1" dirty="0"/>
              <a:t>Counties mapped by incidence and presence of key populations, 2015</a:t>
            </a:r>
            <a:endParaRPr lang="en-US" sz="1800" dirty="0">
              <a:solidFill>
                <a:schemeClr val="tx1">
                  <a:lumMod val="75000"/>
                  <a:lumOff val="25000"/>
                </a:schemeClr>
              </a:solidFill>
            </a:endParaRPr>
          </a:p>
        </p:txBody>
      </p:sp>
      <p:cxnSp>
        <p:nvCxnSpPr>
          <p:cNvPr id="7" name="Straight Connector 6"/>
          <p:cNvCxnSpPr/>
          <p:nvPr>
            <p:custDataLst>
              <p:tags r:id="rId3"/>
            </p:custDataLst>
          </p:nvPr>
        </p:nvCxnSpPr>
        <p:spPr>
          <a:xfrm>
            <a:off x="174472" y="1353989"/>
            <a:ext cx="8869680" cy="0"/>
          </a:xfrm>
          <a:prstGeom prst="line">
            <a:avLst/>
          </a:pr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7093788" y="1376270"/>
            <a:ext cx="1974012" cy="5296835"/>
          </a:xfrm>
          <a:prstGeom prst="rect">
            <a:avLst/>
          </a:prstGeom>
          <a:solidFill>
            <a:schemeClr val="bg1">
              <a:lumMod val="95000"/>
            </a:schemeClr>
          </a:solidFill>
          <a:ln>
            <a:solidFill>
              <a:schemeClr val="accent1"/>
            </a:solidFill>
            <a:prstDash val="sysDot"/>
          </a:ln>
        </p:spPr>
        <p:txBody>
          <a:bodyPr wrap="square" anchor="ctr">
            <a:spAutoFit/>
          </a:bodyPr>
          <a:lstStyle/>
          <a:p>
            <a:pPr>
              <a:lnSpc>
                <a:spcPct val="80000"/>
              </a:lnSpc>
            </a:pPr>
            <a:r>
              <a:rPr lang="en-US" sz="1100" b="1" dirty="0">
                <a:solidFill>
                  <a:schemeClr val="tx1">
                    <a:lumMod val="75000"/>
                    <a:lumOff val="25000"/>
                  </a:schemeClr>
                </a:solidFill>
              </a:rPr>
              <a:t>Counties for “general population” rollout</a:t>
            </a:r>
          </a:p>
          <a:p>
            <a:pPr marL="173038" indent="-173038">
              <a:buFont typeface="Arial" panose="020B0604020202020204" pitchFamily="34" charset="0"/>
              <a:buChar char="•"/>
            </a:pPr>
            <a:r>
              <a:rPr lang="en-US" sz="1100" dirty="0" err="1">
                <a:solidFill>
                  <a:schemeClr val="tx1">
                    <a:lumMod val="75000"/>
                    <a:lumOff val="25000"/>
                  </a:schemeClr>
                </a:solidFill>
              </a:rPr>
              <a:t>Homa</a:t>
            </a:r>
            <a:r>
              <a:rPr lang="en-US" sz="1100" dirty="0">
                <a:solidFill>
                  <a:schemeClr val="tx1">
                    <a:lumMod val="75000"/>
                    <a:lumOff val="25000"/>
                  </a:schemeClr>
                </a:solidFill>
              </a:rPr>
              <a:t> Bay, </a:t>
            </a:r>
            <a:r>
              <a:rPr lang="en-US" sz="1100" dirty="0" err="1">
                <a:solidFill>
                  <a:schemeClr val="tx1">
                    <a:lumMod val="75000"/>
                    <a:lumOff val="25000"/>
                  </a:schemeClr>
                </a:solidFill>
              </a:rPr>
              <a:t>Siaya</a:t>
            </a:r>
            <a:r>
              <a:rPr lang="en-US" sz="1100" dirty="0">
                <a:solidFill>
                  <a:schemeClr val="tx1">
                    <a:lumMod val="75000"/>
                    <a:lumOff val="25000"/>
                  </a:schemeClr>
                </a:solidFill>
              </a:rPr>
              <a:t>, and </a:t>
            </a:r>
            <a:r>
              <a:rPr lang="en-US" sz="1100" dirty="0" err="1">
                <a:solidFill>
                  <a:schemeClr val="tx1">
                    <a:lumMod val="75000"/>
                    <a:lumOff val="25000"/>
                  </a:schemeClr>
                </a:solidFill>
              </a:rPr>
              <a:t>Migori</a:t>
            </a:r>
            <a:r>
              <a:rPr lang="en-US" sz="1100" dirty="0">
                <a:solidFill>
                  <a:schemeClr val="tx1">
                    <a:lumMod val="75000"/>
                    <a:lumOff val="25000"/>
                  </a:schemeClr>
                </a:solidFill>
              </a:rPr>
              <a:t> have few key populations but high rates of HIV incidence amongst</a:t>
            </a:r>
            <a:r>
              <a:rPr lang="en-US" sz="1100" i="1" dirty="0">
                <a:solidFill>
                  <a:schemeClr val="tx1">
                    <a:lumMod val="75000"/>
                    <a:lumOff val="25000"/>
                  </a:schemeClr>
                </a:solidFill>
              </a:rPr>
              <a:t> </a:t>
            </a:r>
            <a:r>
              <a:rPr lang="en-US" sz="1100" b="1" i="1" dirty="0" err="1">
                <a:solidFill>
                  <a:schemeClr val="tx1">
                    <a:lumMod val="75000"/>
                    <a:lumOff val="25000"/>
                  </a:schemeClr>
                </a:solidFill>
              </a:rPr>
              <a:t>sero</a:t>
            </a:r>
            <a:r>
              <a:rPr lang="en-US" sz="1100" b="1" i="1" dirty="0">
                <a:solidFill>
                  <a:schemeClr val="tx1">
                    <a:lumMod val="75000"/>
                    <a:lumOff val="25000"/>
                  </a:schemeClr>
                </a:solidFill>
              </a:rPr>
              <a:t> discordant couples, AGYW, and bridging populations </a:t>
            </a:r>
          </a:p>
          <a:p>
            <a:pPr marL="173038" indent="-173038">
              <a:buFont typeface="Arial" panose="020B0604020202020204" pitchFamily="34" charset="0"/>
              <a:buChar char="•"/>
            </a:pPr>
            <a:r>
              <a:rPr lang="en-US" sz="1100" dirty="0" err="1">
                <a:solidFill>
                  <a:schemeClr val="tx1">
                    <a:lumMod val="75000"/>
                    <a:lumOff val="25000"/>
                  </a:schemeClr>
                </a:solidFill>
              </a:rPr>
              <a:t>Nyamira</a:t>
            </a:r>
            <a:r>
              <a:rPr lang="en-US" sz="1100" dirty="0">
                <a:solidFill>
                  <a:schemeClr val="tx1">
                    <a:lumMod val="75000"/>
                    <a:lumOff val="25000"/>
                  </a:schemeClr>
                </a:solidFill>
              </a:rPr>
              <a:t>, </a:t>
            </a:r>
            <a:r>
              <a:rPr lang="en-US" sz="1100" dirty="0" err="1">
                <a:solidFill>
                  <a:schemeClr val="tx1">
                    <a:lumMod val="75000"/>
                    <a:lumOff val="25000"/>
                  </a:schemeClr>
                </a:solidFill>
              </a:rPr>
              <a:t>Makueni</a:t>
            </a:r>
            <a:r>
              <a:rPr lang="en-US" sz="1100" dirty="0">
                <a:solidFill>
                  <a:schemeClr val="tx1">
                    <a:lumMod val="75000"/>
                    <a:lumOff val="25000"/>
                  </a:schemeClr>
                </a:solidFill>
              </a:rPr>
              <a:t>, </a:t>
            </a:r>
            <a:r>
              <a:rPr lang="en-US" sz="1100" dirty="0" err="1">
                <a:solidFill>
                  <a:schemeClr val="tx1">
                    <a:lumMod val="75000"/>
                    <a:lumOff val="25000"/>
                  </a:schemeClr>
                </a:solidFill>
              </a:rPr>
              <a:t>Busia</a:t>
            </a:r>
            <a:r>
              <a:rPr lang="en-US" sz="1100" dirty="0">
                <a:solidFill>
                  <a:schemeClr val="tx1">
                    <a:lumMod val="75000"/>
                    <a:lumOff val="25000"/>
                  </a:schemeClr>
                </a:solidFill>
              </a:rPr>
              <a:t>, and </a:t>
            </a:r>
            <a:r>
              <a:rPr lang="en-US" sz="1100" dirty="0" err="1">
                <a:solidFill>
                  <a:schemeClr val="tx1">
                    <a:lumMod val="75000"/>
                    <a:lumOff val="25000"/>
                  </a:schemeClr>
                </a:solidFill>
              </a:rPr>
              <a:t>Kitui</a:t>
            </a:r>
            <a:r>
              <a:rPr lang="en-US" sz="1100" dirty="0">
                <a:solidFill>
                  <a:schemeClr val="tx1">
                    <a:lumMod val="75000"/>
                    <a:lumOff val="25000"/>
                  </a:schemeClr>
                </a:solidFill>
              </a:rPr>
              <a:t> have similar profiles but comprise far fewer new infections</a:t>
            </a:r>
          </a:p>
          <a:p>
            <a:endParaRPr lang="en-US" sz="600" b="1" dirty="0">
              <a:solidFill>
                <a:schemeClr val="tx1">
                  <a:lumMod val="75000"/>
                  <a:lumOff val="25000"/>
                </a:schemeClr>
              </a:solidFill>
            </a:endParaRPr>
          </a:p>
          <a:p>
            <a:pPr>
              <a:lnSpc>
                <a:spcPct val="80000"/>
              </a:lnSpc>
            </a:pPr>
            <a:r>
              <a:rPr lang="en-US" sz="1100" b="1" dirty="0">
                <a:solidFill>
                  <a:schemeClr val="tx1">
                    <a:lumMod val="75000"/>
                    <a:lumOff val="25000"/>
                  </a:schemeClr>
                </a:solidFill>
              </a:rPr>
              <a:t>Counties for “targeted population” rollout </a:t>
            </a:r>
          </a:p>
          <a:p>
            <a:pPr marL="173038" indent="-173038">
              <a:buFont typeface="Arial" panose="020B0604020202020204" pitchFamily="34" charset="0"/>
              <a:buChar char="•"/>
            </a:pPr>
            <a:r>
              <a:rPr lang="en-US" sz="1100" dirty="0">
                <a:solidFill>
                  <a:schemeClr val="tx1">
                    <a:lumMod val="75000"/>
                    <a:lumOff val="25000"/>
                  </a:schemeClr>
                </a:solidFill>
              </a:rPr>
              <a:t>Kisumu is a significant contributor of new infections driven by </a:t>
            </a:r>
            <a:r>
              <a:rPr lang="en-US" sz="1100" b="1" i="1" dirty="0">
                <a:solidFill>
                  <a:schemeClr val="tx1">
                    <a:lumMod val="75000"/>
                    <a:lumOff val="25000"/>
                  </a:schemeClr>
                </a:solidFill>
              </a:rPr>
              <a:t>key populations (MSM, FSW) and bridging populations (e.g., </a:t>
            </a:r>
            <a:r>
              <a:rPr lang="en-US" sz="1100" b="1" i="1" dirty="0" err="1">
                <a:solidFill>
                  <a:schemeClr val="tx1">
                    <a:lumMod val="75000"/>
                    <a:lumOff val="25000"/>
                  </a:schemeClr>
                </a:solidFill>
              </a:rPr>
              <a:t>fisherfolk</a:t>
            </a:r>
            <a:r>
              <a:rPr lang="en-US" sz="1100" b="1" i="1" dirty="0">
                <a:solidFill>
                  <a:schemeClr val="tx1">
                    <a:lumMod val="75000"/>
                    <a:lumOff val="25000"/>
                  </a:schemeClr>
                </a:solidFill>
              </a:rPr>
              <a:t>)  </a:t>
            </a:r>
          </a:p>
          <a:p>
            <a:pPr marL="173038" indent="-173038">
              <a:buFont typeface="Arial" panose="020B0604020202020204" pitchFamily="34" charset="0"/>
              <a:buChar char="•"/>
            </a:pPr>
            <a:r>
              <a:rPr lang="en-US" sz="1100" dirty="0">
                <a:solidFill>
                  <a:schemeClr val="tx1">
                    <a:lumMod val="75000"/>
                    <a:lumOff val="25000"/>
                  </a:schemeClr>
                </a:solidFill>
              </a:rPr>
              <a:t>Mombasa, </a:t>
            </a:r>
            <a:r>
              <a:rPr lang="en-US" sz="1100" dirty="0" err="1">
                <a:solidFill>
                  <a:schemeClr val="tx1">
                    <a:lumMod val="75000"/>
                    <a:lumOff val="25000"/>
                  </a:schemeClr>
                </a:solidFill>
              </a:rPr>
              <a:t>Kiambu</a:t>
            </a:r>
            <a:r>
              <a:rPr lang="en-US" sz="1100" dirty="0">
                <a:solidFill>
                  <a:schemeClr val="tx1">
                    <a:lumMod val="75000"/>
                    <a:lumOff val="25000"/>
                  </a:schemeClr>
                </a:solidFill>
              </a:rPr>
              <a:t>, and </a:t>
            </a:r>
            <a:r>
              <a:rPr lang="en-US" sz="1100" dirty="0" err="1">
                <a:solidFill>
                  <a:schemeClr val="tx1">
                    <a:lumMod val="75000"/>
                    <a:lumOff val="25000"/>
                  </a:schemeClr>
                </a:solidFill>
              </a:rPr>
              <a:t>Kisii</a:t>
            </a:r>
            <a:r>
              <a:rPr lang="en-US" sz="1100" dirty="0">
                <a:solidFill>
                  <a:schemeClr val="tx1">
                    <a:lumMod val="75000"/>
                    <a:lumOff val="25000"/>
                  </a:schemeClr>
                </a:solidFill>
              </a:rPr>
              <a:t> have similar profiles but comprise far fewer new infections</a:t>
            </a:r>
          </a:p>
          <a:p>
            <a:pPr marL="173038" indent="-173038">
              <a:buFont typeface="Arial" panose="020B0604020202020204" pitchFamily="34" charset="0"/>
              <a:buChar char="•"/>
            </a:pPr>
            <a:r>
              <a:rPr lang="en-US" sz="1100" dirty="0">
                <a:solidFill>
                  <a:schemeClr val="tx1">
                    <a:lumMod val="75000"/>
                    <a:lumOff val="25000"/>
                  </a:schemeClr>
                </a:solidFill>
              </a:rPr>
              <a:t>Nairobi has a moderate rate of incidence, but contributes significantly to new infections and may also be prioritized for targeted oral </a:t>
            </a:r>
            <a:r>
              <a:rPr lang="en-US" sz="1100" dirty="0" err="1">
                <a:solidFill>
                  <a:schemeClr val="tx1">
                    <a:lumMod val="75000"/>
                    <a:lumOff val="25000"/>
                  </a:schemeClr>
                </a:solidFill>
              </a:rPr>
              <a:t>PrEP</a:t>
            </a:r>
            <a:r>
              <a:rPr lang="en-US" sz="1100" dirty="0">
                <a:solidFill>
                  <a:schemeClr val="tx1">
                    <a:lumMod val="75000"/>
                    <a:lumOff val="25000"/>
                  </a:schemeClr>
                </a:solidFill>
              </a:rPr>
              <a:t> rollout </a:t>
            </a:r>
          </a:p>
        </p:txBody>
      </p:sp>
      <p:sp>
        <p:nvSpPr>
          <p:cNvPr id="14" name="Title 1"/>
          <p:cNvSpPr>
            <a:spLocks noGrp="1"/>
          </p:cNvSpPr>
          <p:nvPr>
            <p:ph type="title"/>
            <p:custDataLst>
              <p:tags r:id="rId4"/>
            </p:custDataLst>
          </p:nvPr>
        </p:nvSpPr>
        <p:spPr>
          <a:xfrm>
            <a:off x="3175" y="0"/>
            <a:ext cx="9140825" cy="902697"/>
          </a:xfrm>
          <a:solidFill>
            <a:schemeClr val="accent3">
              <a:lumMod val="20000"/>
              <a:lumOff val="80000"/>
            </a:schemeClr>
          </a:solidFill>
        </p:spPr>
        <p:txBody>
          <a:bodyPr anchor="ctr"/>
          <a:lstStyle/>
          <a:p>
            <a:pPr>
              <a:lnSpc>
                <a:spcPct val="90000"/>
              </a:lnSpc>
            </a:pPr>
            <a:r>
              <a:rPr lang="en-US" sz="2400" b="1" dirty="0">
                <a:solidFill>
                  <a:schemeClr val="tx2"/>
                </a:solidFill>
              </a:rPr>
              <a:t>Rollout Scenarios – Approach 1</a:t>
            </a:r>
            <a:br>
              <a:rPr lang="en-US" sz="2400" b="1" dirty="0"/>
            </a:br>
            <a:r>
              <a:rPr lang="en-US" sz="2400" dirty="0">
                <a:solidFill>
                  <a:schemeClr val="tx1">
                    <a:lumMod val="75000"/>
                    <a:lumOff val="25000"/>
                  </a:schemeClr>
                </a:solidFill>
              </a:rPr>
              <a:t>Completed Example of Kenya</a:t>
            </a:r>
            <a:endParaRPr lang="en-US" sz="2400" dirty="0"/>
          </a:p>
        </p:txBody>
      </p:sp>
      <p:pic>
        <p:nvPicPr>
          <p:cNvPr id="15" name="Picture 109" descr="C:\Users\neeraja.bhavaraju\Downloads\noun_885911_cc.png"/>
          <p:cNvPicPr>
            <a:picLocks noChangeAspect="1" noChangeArrowheads="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b="12644"/>
          <a:stretch/>
        </p:blipFill>
        <p:spPr bwMode="auto">
          <a:xfrm>
            <a:off x="8298774" y="162892"/>
            <a:ext cx="692340" cy="604803"/>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ular Callout 15"/>
          <p:cNvSpPr/>
          <p:nvPr/>
        </p:nvSpPr>
        <p:spPr>
          <a:xfrm>
            <a:off x="6955116" y="838689"/>
            <a:ext cx="2035998" cy="523220"/>
          </a:xfrm>
          <a:prstGeom prst="wedgeRectCallout">
            <a:avLst>
              <a:gd name="adj1" fmla="val -35908"/>
              <a:gd name="adj2" fmla="val 92632"/>
            </a:avLst>
          </a:prstGeom>
          <a:solidFill>
            <a:schemeClr val="accent4"/>
          </a:solidFill>
          <a:ln w="12700">
            <a:noFill/>
          </a:ln>
        </p:spPr>
        <p:txBody>
          <a:bodyPr wrap="square">
            <a:spAutoFit/>
          </a:bodyPr>
          <a:lstStyle/>
          <a:p>
            <a:pPr algn="r">
              <a:spcBef>
                <a:spcPts val="300"/>
              </a:spcBef>
              <a:spcAft>
                <a:spcPts val="300"/>
              </a:spcAft>
            </a:pPr>
            <a:r>
              <a:rPr lang="en-US" sz="1400" dirty="0">
                <a:solidFill>
                  <a:prstClr val="white"/>
                </a:solidFill>
              </a:rPr>
              <a:t>Completed example from Kenya</a:t>
            </a:r>
          </a:p>
        </p:txBody>
      </p:sp>
    </p:spTree>
    <p:extLst>
      <p:ext uri="{BB962C8B-B14F-4D97-AF65-F5344CB8AC3E}">
        <p14:creationId xmlns:p14="http://schemas.microsoft.com/office/powerpoint/2010/main" val="6279725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383052"/>
            <a:ext cx="8428383" cy="972441"/>
          </a:xfrm>
        </p:spPr>
        <p:txBody>
          <a:bodyPr/>
          <a:lstStyle/>
          <a:p>
            <a:r>
              <a:rPr lang="en-US" sz="3200" dirty="0"/>
              <a:t>Resources and Tools available on PrEPWatch.org*</a:t>
            </a:r>
          </a:p>
        </p:txBody>
      </p:sp>
      <p:sp>
        <p:nvSpPr>
          <p:cNvPr id="3" name="Text Placeholder 2"/>
          <p:cNvSpPr>
            <a:spLocks noGrp="1"/>
          </p:cNvSpPr>
          <p:nvPr>
            <p:ph type="body" sz="quarter" idx="10"/>
          </p:nvPr>
        </p:nvSpPr>
        <p:spPr>
          <a:xfrm>
            <a:off x="457200" y="1038544"/>
            <a:ext cx="8229600" cy="4179499"/>
          </a:xfrm>
        </p:spPr>
        <p:txBody>
          <a:bodyPr/>
          <a:lstStyle/>
          <a:p>
            <a:pPr marL="0" marR="0">
              <a:spcBef>
                <a:spcPts val="0"/>
              </a:spcBef>
              <a:spcAft>
                <a:spcPts val="0"/>
              </a:spcAft>
            </a:pPr>
            <a:endParaRPr lang="en-US" sz="1800" dirty="0">
              <a:solidFill>
                <a:srgbClr val="10394B"/>
              </a:solidFill>
              <a:latin typeface="Gill Sans MT" panose="020B0502020104020203"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rPr>
              <a:t>Visit </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3"/>
              </a:rPr>
              <a:t>www.prepwatch.org</a:t>
            </a: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4"/>
            </a:endParaRPr>
          </a:p>
          <a:p>
            <a:pPr marL="0" marR="0" indent="0">
              <a:spcBef>
                <a:spcPts val="0"/>
              </a:spcBef>
              <a:spcAft>
                <a:spcPts val="0"/>
              </a:spcAft>
              <a:buNone/>
            </a:pP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4"/>
            </a:endParaRPr>
          </a:p>
          <a:p>
            <a:pPr marL="0" marR="0">
              <a:spcBef>
                <a:spcPts val="0"/>
              </a:spcBef>
              <a:spcAft>
                <a:spcPts val="0"/>
              </a:spcAft>
            </a:pP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4"/>
              </a:rPr>
              <a:t>MPii Tools and Resources</a:t>
            </a: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endParaRPr>
          </a:p>
          <a:p>
            <a:pPr marL="400050" lvl="1">
              <a:spcBef>
                <a:spcPts val="0"/>
              </a:spcBef>
            </a:pP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5"/>
              </a:rPr>
              <a:t>Plan 4 </a:t>
            </a:r>
            <a:r>
              <a:rPr lang="en-US" sz="2400" dirty="0" err="1">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5"/>
              </a:rPr>
              <a:t>PrEP</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5"/>
              </a:rPr>
              <a:t>: Toolkit for Oral </a:t>
            </a:r>
            <a:r>
              <a:rPr lang="en-US" sz="2400" dirty="0" err="1">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5"/>
              </a:rPr>
              <a:t>PrEP</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5"/>
              </a:rPr>
              <a:t> </a:t>
            </a:r>
            <a:r>
              <a:rPr lang="en-US" sz="2400" dirty="0" err="1">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5"/>
              </a:rPr>
              <a:t>Implemenation</a:t>
            </a: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endParaRPr>
          </a:p>
          <a:p>
            <a:pPr marL="400050" lvl="1">
              <a:spcBef>
                <a:spcPts val="0"/>
              </a:spcBef>
            </a:pP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6"/>
              </a:rPr>
              <a:t>Dapivirine Ring: The Case for Action</a:t>
            </a: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endParaRPr>
          </a:p>
          <a:p>
            <a:pPr marL="400050" lvl="1">
              <a:spcBef>
                <a:spcPts val="0"/>
              </a:spcBef>
            </a:pP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rPr>
              <a:t>Oral </a:t>
            </a:r>
            <a:r>
              <a:rPr lang="en-US" sz="2400" dirty="0" err="1">
                <a:solidFill>
                  <a:srgbClr val="10394B"/>
                </a:solidFill>
                <a:latin typeface="Gill Sans MT" panose="020B0502020104020203" pitchFamily="34" charset="0"/>
                <a:ea typeface="Calibri" panose="020F0502020204030204" pitchFamily="34" charset="0"/>
                <a:cs typeface="Times New Roman" panose="02020603050405020304" pitchFamily="18" charset="0"/>
              </a:rPr>
              <a:t>PrEP</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rPr>
              <a:t> Private Sector Landscape Analyses: </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7"/>
              </a:rPr>
              <a:t>Summary</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rPr>
              <a:t>, </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8"/>
              </a:rPr>
              <a:t>Kenya</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rPr>
              <a:t>, </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9"/>
              </a:rPr>
              <a:t>South Africa</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rPr>
              <a:t>, </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10"/>
              </a:rPr>
              <a:t>Zimbabwe</a:t>
            </a: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endParaRPr>
          </a:p>
          <a:p>
            <a:pPr marL="400050" lvl="1">
              <a:spcBef>
                <a:spcPts val="0"/>
              </a:spcBef>
            </a:pPr>
            <a:endParaRPr lang="en-US" sz="2400" dirty="0">
              <a:latin typeface="Gill Sans MT" panose="020B0502020104020203" pitchFamily="34" charset="0"/>
              <a:ea typeface="Calibri" panose="020F0502020204030204" pitchFamily="34" charset="0"/>
              <a:cs typeface="Times New Roman" panose="02020603050405020304" pitchFamily="18" charset="0"/>
            </a:endParaRPr>
          </a:p>
          <a:p>
            <a:pPr marL="0">
              <a:spcBef>
                <a:spcPts val="0"/>
              </a:spcBef>
            </a:pPr>
            <a:r>
              <a:rPr lang="en-US" sz="2400" dirty="0" err="1">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11"/>
              </a:rPr>
              <a:t>PrEP</a:t>
            </a:r>
            <a:r>
              <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hlinkClick r:id="rId11"/>
              </a:rPr>
              <a:t> Trials, Demonstration, and Implementation Projects</a:t>
            </a: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endParaRPr>
          </a:p>
          <a:p>
            <a:pPr marL="0" indent="0">
              <a:spcBef>
                <a:spcPts val="0"/>
              </a:spcBef>
              <a:buNone/>
            </a:pPr>
            <a:endParaRPr lang="en-US" sz="2400" dirty="0">
              <a:solidFill>
                <a:srgbClr val="10394B"/>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4" name="TextBox 3"/>
          <p:cNvSpPr txBox="1"/>
          <p:nvPr/>
        </p:nvSpPr>
        <p:spPr>
          <a:xfrm>
            <a:off x="805069" y="5666889"/>
            <a:ext cx="7464287" cy="338554"/>
          </a:xfrm>
          <a:prstGeom prst="rect">
            <a:avLst/>
          </a:prstGeom>
          <a:noFill/>
        </p:spPr>
        <p:txBody>
          <a:bodyPr wrap="square" rtlCol="0">
            <a:spAutoFit/>
          </a:bodyPr>
          <a:lstStyle/>
          <a:p>
            <a:r>
              <a:rPr lang="en-US" sz="1600" dirty="0"/>
              <a:t>* Hyperlinks are active in slideshow mode</a:t>
            </a:r>
          </a:p>
        </p:txBody>
      </p:sp>
    </p:spTree>
    <p:extLst>
      <p:ext uri="{BB962C8B-B14F-4D97-AF65-F5344CB8AC3E}">
        <p14:creationId xmlns:p14="http://schemas.microsoft.com/office/powerpoint/2010/main" val="1147784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23212" y="959002"/>
            <a:ext cx="1716474" cy="484819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 name="Group 1"/>
          <p:cNvGrpSpPr/>
          <p:nvPr/>
        </p:nvGrpSpPr>
        <p:grpSpPr>
          <a:xfrm>
            <a:off x="3516399" y="2463460"/>
            <a:ext cx="3007441" cy="3293198"/>
            <a:chOff x="931640" y="1927501"/>
            <a:chExt cx="3007441" cy="4355975"/>
          </a:xfrm>
        </p:grpSpPr>
        <p:grpSp>
          <p:nvGrpSpPr>
            <p:cNvPr id="32" name="Group 31"/>
            <p:cNvGrpSpPr>
              <a:grpSpLocks noChangeAspect="1"/>
            </p:cNvGrpSpPr>
            <p:nvPr/>
          </p:nvGrpSpPr>
          <p:grpSpPr bwMode="auto">
            <a:xfrm>
              <a:off x="931640" y="1927501"/>
              <a:ext cx="3001434" cy="4355975"/>
              <a:chOff x="4756150" y="4049713"/>
              <a:chExt cx="787400" cy="1143000"/>
            </a:xfrm>
            <a:solidFill>
              <a:srgbClr val="D5D0CD"/>
            </a:solidFill>
          </p:grpSpPr>
          <p:sp>
            <p:nvSpPr>
              <p:cNvPr id="36" name="Freeform 35"/>
              <p:cNvSpPr>
                <a:spLocks noChangeAspect="1"/>
              </p:cNvSpPr>
              <p:nvPr/>
            </p:nvSpPr>
            <p:spPr bwMode="auto">
              <a:xfrm>
                <a:off x="4821238" y="4670425"/>
                <a:ext cx="325437" cy="347663"/>
              </a:xfrm>
              <a:custGeom>
                <a:avLst/>
                <a:gdLst>
                  <a:gd name="T0" fmla="*/ 2147483647 w 171"/>
                  <a:gd name="T1" fmla="*/ 2147483647 h 182"/>
                  <a:gd name="T2" fmla="*/ 2147483647 w 171"/>
                  <a:gd name="T3" fmla="*/ 2147483647 h 182"/>
                  <a:gd name="T4" fmla="*/ 2147483647 w 171"/>
                  <a:gd name="T5" fmla="*/ 2147483647 h 182"/>
                  <a:gd name="T6" fmla="*/ 2147483647 w 171"/>
                  <a:gd name="T7" fmla="*/ 2147483647 h 182"/>
                  <a:gd name="T8" fmla="*/ 2147483647 w 171"/>
                  <a:gd name="T9" fmla="*/ 2147483647 h 182"/>
                  <a:gd name="T10" fmla="*/ 2147483647 w 171"/>
                  <a:gd name="T11" fmla="*/ 2147483647 h 182"/>
                  <a:gd name="T12" fmla="*/ 2147483647 w 171"/>
                  <a:gd name="T13" fmla="*/ 2147483647 h 182"/>
                  <a:gd name="T14" fmla="*/ 2147483647 w 171"/>
                  <a:gd name="T15" fmla="*/ 2147483647 h 182"/>
                  <a:gd name="T16" fmla="*/ 2147483647 w 171"/>
                  <a:gd name="T17" fmla="*/ 2147483647 h 182"/>
                  <a:gd name="T18" fmla="*/ 2147483647 w 171"/>
                  <a:gd name="T19" fmla="*/ 2147483647 h 182"/>
                  <a:gd name="T20" fmla="*/ 2147483647 w 171"/>
                  <a:gd name="T21" fmla="*/ 2147483647 h 182"/>
                  <a:gd name="T22" fmla="*/ 2147483647 w 171"/>
                  <a:gd name="T23" fmla="*/ 2147483647 h 182"/>
                  <a:gd name="T24" fmla="*/ 2147483647 w 171"/>
                  <a:gd name="T25" fmla="*/ 2147483647 h 182"/>
                  <a:gd name="T26" fmla="*/ 2147483647 w 171"/>
                  <a:gd name="T27" fmla="*/ 2147483647 h 182"/>
                  <a:gd name="T28" fmla="*/ 2147483647 w 171"/>
                  <a:gd name="T29" fmla="*/ 2147483647 h 182"/>
                  <a:gd name="T30" fmla="*/ 2147483647 w 171"/>
                  <a:gd name="T31" fmla="*/ 2147483647 h 182"/>
                  <a:gd name="T32" fmla="*/ 2147483647 w 171"/>
                  <a:gd name="T33" fmla="*/ 2147483647 h 182"/>
                  <a:gd name="T34" fmla="*/ 2147483647 w 171"/>
                  <a:gd name="T35" fmla="*/ 2147483647 h 182"/>
                  <a:gd name="T36" fmla="*/ 2147483647 w 171"/>
                  <a:gd name="T37" fmla="*/ 2147483647 h 182"/>
                  <a:gd name="T38" fmla="*/ 2147483647 w 171"/>
                  <a:gd name="T39" fmla="*/ 2147483647 h 182"/>
                  <a:gd name="T40" fmla="*/ 2147483647 w 171"/>
                  <a:gd name="T41" fmla="*/ 2147483647 h 182"/>
                  <a:gd name="T42" fmla="*/ 2147483647 w 171"/>
                  <a:gd name="T43" fmla="*/ 2147483647 h 182"/>
                  <a:gd name="T44" fmla="*/ 2147483647 w 171"/>
                  <a:gd name="T45" fmla="*/ 2147483647 h 182"/>
                  <a:gd name="T46" fmla="*/ 2147483647 w 171"/>
                  <a:gd name="T47" fmla="*/ 2147483647 h 182"/>
                  <a:gd name="T48" fmla="*/ 2147483647 w 171"/>
                  <a:gd name="T49" fmla="*/ 2147483647 h 182"/>
                  <a:gd name="T50" fmla="*/ 2147483647 w 171"/>
                  <a:gd name="T51" fmla="*/ 2147483647 h 182"/>
                  <a:gd name="T52" fmla="*/ 2147483647 w 171"/>
                  <a:gd name="T53" fmla="*/ 2147483647 h 182"/>
                  <a:gd name="T54" fmla="*/ 2147483647 w 171"/>
                  <a:gd name="T55" fmla="*/ 2147483647 h 182"/>
                  <a:gd name="T56" fmla="*/ 2147483647 w 171"/>
                  <a:gd name="T57" fmla="*/ 2147483647 h 182"/>
                  <a:gd name="T58" fmla="*/ 2147483647 w 171"/>
                  <a:gd name="T59" fmla="*/ 2147483647 h 182"/>
                  <a:gd name="T60" fmla="*/ 2147483647 w 171"/>
                  <a:gd name="T61" fmla="*/ 2147483647 h 182"/>
                  <a:gd name="T62" fmla="*/ 2147483647 w 171"/>
                  <a:gd name="T63" fmla="*/ 2147483647 h 182"/>
                  <a:gd name="T64" fmla="*/ 2147483647 w 171"/>
                  <a:gd name="T65" fmla="*/ 2147483647 h 182"/>
                  <a:gd name="T66" fmla="*/ 2147483647 w 171"/>
                  <a:gd name="T67" fmla="*/ 2147483647 h 182"/>
                  <a:gd name="T68" fmla="*/ 2147483647 w 171"/>
                  <a:gd name="T69" fmla="*/ 2147483647 h 182"/>
                  <a:gd name="T70" fmla="*/ 2147483647 w 171"/>
                  <a:gd name="T71" fmla="*/ 2147483647 h 182"/>
                  <a:gd name="T72" fmla="*/ 2147483647 w 171"/>
                  <a:gd name="T73" fmla="*/ 2147483647 h 182"/>
                  <a:gd name="T74" fmla="*/ 2147483647 w 171"/>
                  <a:gd name="T75" fmla="*/ 2147483647 h 182"/>
                  <a:gd name="T76" fmla="*/ 2147483647 w 171"/>
                  <a:gd name="T77" fmla="*/ 2147483647 h 182"/>
                  <a:gd name="T78" fmla="*/ 2147483647 w 171"/>
                  <a:gd name="T79" fmla="*/ 2147483647 h 182"/>
                  <a:gd name="T80" fmla="*/ 2147483647 w 171"/>
                  <a:gd name="T81" fmla="*/ 2147483647 h 182"/>
                  <a:gd name="T82" fmla="*/ 2147483647 w 171"/>
                  <a:gd name="T83" fmla="*/ 2147483647 h 182"/>
                  <a:gd name="T84" fmla="*/ 0 w 171"/>
                  <a:gd name="T85" fmla="*/ 2147483647 h 182"/>
                  <a:gd name="T86" fmla="*/ 2147483647 w 171"/>
                  <a:gd name="T87" fmla="*/ 2147483647 h 182"/>
                  <a:gd name="T88" fmla="*/ 2147483647 w 171"/>
                  <a:gd name="T89" fmla="*/ 2147483647 h 182"/>
                  <a:gd name="T90" fmla="*/ 2147483647 w 171"/>
                  <a:gd name="T91" fmla="*/ 0 h 182"/>
                  <a:gd name="T92" fmla="*/ 2147483647 w 171"/>
                  <a:gd name="T93" fmla="*/ 2147483647 h 182"/>
                  <a:gd name="T94" fmla="*/ 2147483647 w 171"/>
                  <a:gd name="T95" fmla="*/ 2147483647 h 182"/>
                  <a:gd name="T96" fmla="*/ 2147483647 w 171"/>
                  <a:gd name="T97" fmla="*/ 2147483647 h 182"/>
                  <a:gd name="T98" fmla="*/ 2147483647 w 171"/>
                  <a:gd name="T99" fmla="*/ 2147483647 h 182"/>
                  <a:gd name="T100" fmla="*/ 2147483647 w 171"/>
                  <a:gd name="T101" fmla="*/ 2147483647 h 182"/>
                  <a:gd name="T102" fmla="*/ 2147483647 w 171"/>
                  <a:gd name="T103" fmla="*/ 2147483647 h 182"/>
                  <a:gd name="T104" fmla="*/ 2147483647 w 171"/>
                  <a:gd name="T105" fmla="*/ 2147483647 h 182"/>
                  <a:gd name="T106" fmla="*/ 2147483647 w 171"/>
                  <a:gd name="T107" fmla="*/ 2147483647 h 182"/>
                  <a:gd name="T108" fmla="*/ 2147483647 w 171"/>
                  <a:gd name="T109" fmla="*/ 2147483647 h 182"/>
                  <a:gd name="T110" fmla="*/ 2147483647 w 171"/>
                  <a:gd name="T111" fmla="*/ 2147483647 h 182"/>
                  <a:gd name="T112" fmla="*/ 2147483647 w 171"/>
                  <a:gd name="T113" fmla="*/ 2147483647 h 182"/>
                  <a:gd name="T114" fmla="*/ 2147483647 w 171"/>
                  <a:gd name="T115" fmla="*/ 2147483647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37" name="Freeform 36"/>
              <p:cNvSpPr>
                <a:spLocks noChangeAspect="1"/>
              </p:cNvSpPr>
              <p:nvPr/>
            </p:nvSpPr>
            <p:spPr bwMode="auto">
              <a:xfrm>
                <a:off x="4933950" y="4818063"/>
                <a:ext cx="392113" cy="374650"/>
              </a:xfrm>
              <a:custGeom>
                <a:avLst/>
                <a:gdLst>
                  <a:gd name="T0" fmla="*/ 2147483647 w 206"/>
                  <a:gd name="T1" fmla="*/ 2147483647 h 197"/>
                  <a:gd name="T2" fmla="*/ 2147483647 w 206"/>
                  <a:gd name="T3" fmla="*/ 2147483647 h 197"/>
                  <a:gd name="T4" fmla="*/ 2147483647 w 206"/>
                  <a:gd name="T5" fmla="*/ 2147483647 h 197"/>
                  <a:gd name="T6" fmla="*/ 2147483647 w 206"/>
                  <a:gd name="T7" fmla="*/ 2147483647 h 197"/>
                  <a:gd name="T8" fmla="*/ 2147483647 w 206"/>
                  <a:gd name="T9" fmla="*/ 2147483647 h 197"/>
                  <a:gd name="T10" fmla="*/ 2147483647 w 206"/>
                  <a:gd name="T11" fmla="*/ 2147483647 h 197"/>
                  <a:gd name="T12" fmla="*/ 2147483647 w 206"/>
                  <a:gd name="T13" fmla="*/ 2147483647 h 197"/>
                  <a:gd name="T14" fmla="*/ 2147483647 w 206"/>
                  <a:gd name="T15" fmla="*/ 2147483647 h 197"/>
                  <a:gd name="T16" fmla="*/ 2147483647 w 206"/>
                  <a:gd name="T17" fmla="*/ 2147483647 h 197"/>
                  <a:gd name="T18" fmla="*/ 2147483647 w 206"/>
                  <a:gd name="T19" fmla="*/ 2147483647 h 197"/>
                  <a:gd name="T20" fmla="*/ 2147483647 w 206"/>
                  <a:gd name="T21" fmla="*/ 2147483647 h 197"/>
                  <a:gd name="T22" fmla="*/ 2147483647 w 206"/>
                  <a:gd name="T23" fmla="*/ 2147483647 h 197"/>
                  <a:gd name="T24" fmla="*/ 2147483647 w 206"/>
                  <a:gd name="T25" fmla="*/ 2147483647 h 197"/>
                  <a:gd name="T26" fmla="*/ 2147483647 w 206"/>
                  <a:gd name="T27" fmla="*/ 2147483647 h 197"/>
                  <a:gd name="T28" fmla="*/ 2147483647 w 206"/>
                  <a:gd name="T29" fmla="*/ 2147483647 h 197"/>
                  <a:gd name="T30" fmla="*/ 2147483647 w 206"/>
                  <a:gd name="T31" fmla="*/ 2147483647 h 197"/>
                  <a:gd name="T32" fmla="*/ 2147483647 w 206"/>
                  <a:gd name="T33" fmla="*/ 2147483647 h 197"/>
                  <a:gd name="T34" fmla="*/ 2147483647 w 206"/>
                  <a:gd name="T35" fmla="*/ 2147483647 h 197"/>
                  <a:gd name="T36" fmla="*/ 2147483647 w 206"/>
                  <a:gd name="T37" fmla="*/ 2147483647 h 197"/>
                  <a:gd name="T38" fmla="*/ 2147483647 w 206"/>
                  <a:gd name="T39" fmla="*/ 2147483647 h 197"/>
                  <a:gd name="T40" fmla="*/ 2147483647 w 206"/>
                  <a:gd name="T41" fmla="*/ 2147483647 h 197"/>
                  <a:gd name="T42" fmla="*/ 2147483647 w 206"/>
                  <a:gd name="T43" fmla="*/ 2147483647 h 197"/>
                  <a:gd name="T44" fmla="*/ 2147483647 w 206"/>
                  <a:gd name="T45" fmla="*/ 2147483647 h 197"/>
                  <a:gd name="T46" fmla="*/ 2147483647 w 206"/>
                  <a:gd name="T47" fmla="*/ 2147483647 h 197"/>
                  <a:gd name="T48" fmla="*/ 2147483647 w 206"/>
                  <a:gd name="T49" fmla="*/ 2147483647 h 197"/>
                  <a:gd name="T50" fmla="*/ 2147483647 w 206"/>
                  <a:gd name="T51" fmla="*/ 2147483647 h 197"/>
                  <a:gd name="T52" fmla="*/ 2147483647 w 206"/>
                  <a:gd name="T53" fmla="*/ 2147483647 h 197"/>
                  <a:gd name="T54" fmla="*/ 2147483647 w 206"/>
                  <a:gd name="T55" fmla="*/ 2147483647 h 197"/>
                  <a:gd name="T56" fmla="*/ 2147483647 w 206"/>
                  <a:gd name="T57" fmla="*/ 2147483647 h 197"/>
                  <a:gd name="T58" fmla="*/ 2147483647 w 206"/>
                  <a:gd name="T59" fmla="*/ 2147483647 h 197"/>
                  <a:gd name="T60" fmla="*/ 2147483647 w 206"/>
                  <a:gd name="T61" fmla="*/ 2147483647 h 197"/>
                  <a:gd name="T62" fmla="*/ 2147483647 w 206"/>
                  <a:gd name="T63" fmla="*/ 2147483647 h 197"/>
                  <a:gd name="T64" fmla="*/ 2147483647 w 206"/>
                  <a:gd name="T65" fmla="*/ 2147483647 h 197"/>
                  <a:gd name="T66" fmla="*/ 2147483647 w 206"/>
                  <a:gd name="T67" fmla="*/ 2147483647 h 197"/>
                  <a:gd name="T68" fmla="*/ 2147483647 w 206"/>
                  <a:gd name="T69" fmla="*/ 2147483647 h 197"/>
                  <a:gd name="T70" fmla="*/ 2147483647 w 206"/>
                  <a:gd name="T71" fmla="*/ 2147483647 h 197"/>
                  <a:gd name="T72" fmla="*/ 2147483647 w 206"/>
                  <a:gd name="T73" fmla="*/ 2147483647 h 197"/>
                  <a:gd name="T74" fmla="*/ 2147483647 w 206"/>
                  <a:gd name="T75" fmla="*/ 2147483647 h 197"/>
                  <a:gd name="T76" fmla="*/ 2147483647 w 206"/>
                  <a:gd name="T77" fmla="*/ 2147483647 h 197"/>
                  <a:gd name="T78" fmla="*/ 2147483647 w 206"/>
                  <a:gd name="T79" fmla="*/ 2147483647 h 197"/>
                  <a:gd name="T80" fmla="*/ 2147483647 w 206"/>
                  <a:gd name="T81" fmla="*/ 2147483647 h 197"/>
                  <a:gd name="T82" fmla="*/ 2147483647 w 206"/>
                  <a:gd name="T83" fmla="*/ 2147483647 h 197"/>
                  <a:gd name="T84" fmla="*/ 2147483647 w 206"/>
                  <a:gd name="T85" fmla="*/ 2147483647 h 197"/>
                  <a:gd name="T86" fmla="*/ 2147483647 w 206"/>
                  <a:gd name="T87" fmla="*/ 2147483647 h 197"/>
                  <a:gd name="T88" fmla="*/ 2147483647 w 206"/>
                  <a:gd name="T89" fmla="*/ 2147483647 h 197"/>
                  <a:gd name="T90" fmla="*/ 2147483647 w 206"/>
                  <a:gd name="T91" fmla="*/ 2147483647 h 197"/>
                  <a:gd name="T92" fmla="*/ 2147483647 w 206"/>
                  <a:gd name="T93" fmla="*/ 2147483647 h 197"/>
                  <a:gd name="T94" fmla="*/ 2147483647 w 206"/>
                  <a:gd name="T95" fmla="*/ 2147483647 h 197"/>
                  <a:gd name="T96" fmla="*/ 2147483647 w 206"/>
                  <a:gd name="T97" fmla="*/ 214748364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chemeClr val="accent5">
                  <a:lumMod val="75000"/>
                </a:schemeClr>
              </a:solidFill>
              <a:ln w="3175" cap="rnd" cmpd="sng">
                <a:solidFill>
                  <a:srgbClr val="10394B"/>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38" name="Freeform 37"/>
              <p:cNvSpPr>
                <a:spLocks noChangeAspect="1"/>
              </p:cNvSpPr>
              <p:nvPr/>
            </p:nvSpPr>
            <p:spPr bwMode="auto">
              <a:xfrm>
                <a:off x="5272088" y="4922838"/>
                <a:ext cx="34925" cy="46037"/>
              </a:xfrm>
              <a:custGeom>
                <a:avLst/>
                <a:gdLst>
                  <a:gd name="T0" fmla="*/ 2147483647 w 18"/>
                  <a:gd name="T1" fmla="*/ 2147483647 h 24"/>
                  <a:gd name="T2" fmla="*/ 2147483647 w 18"/>
                  <a:gd name="T3" fmla="*/ 2147483647 h 24"/>
                  <a:gd name="T4" fmla="*/ 2147483647 w 18"/>
                  <a:gd name="T5" fmla="*/ 2147483647 h 24"/>
                  <a:gd name="T6" fmla="*/ 2147483647 w 18"/>
                  <a:gd name="T7" fmla="*/ 0 h 24"/>
                  <a:gd name="T8" fmla="*/ 2147483647 w 18"/>
                  <a:gd name="T9" fmla="*/ 2147483647 h 24"/>
                  <a:gd name="T10" fmla="*/ 2147483647 w 18"/>
                  <a:gd name="T11" fmla="*/ 2147483647 h 24"/>
                  <a:gd name="T12" fmla="*/ 2147483647 w 18"/>
                  <a:gd name="T13" fmla="*/ 2147483647 h 24"/>
                  <a:gd name="T14" fmla="*/ 2147483647 w 18"/>
                  <a:gd name="T15" fmla="*/ 2147483647 h 24"/>
                  <a:gd name="T16" fmla="*/ 2147483647 w 18"/>
                  <a:gd name="T17" fmla="*/ 2147483647 h 24"/>
                  <a:gd name="T18" fmla="*/ 2147483647 w 18"/>
                  <a:gd name="T19" fmla="*/ 2147483647 h 24"/>
                  <a:gd name="T20" fmla="*/ 2147483647 w 18"/>
                  <a:gd name="T21" fmla="*/ 2147483647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39" name="Freeform 38"/>
              <p:cNvSpPr>
                <a:spLocks noChangeAspect="1"/>
              </p:cNvSpPr>
              <p:nvPr/>
            </p:nvSpPr>
            <p:spPr bwMode="auto">
              <a:xfrm>
                <a:off x="5019675" y="4697413"/>
                <a:ext cx="220663" cy="257175"/>
              </a:xfrm>
              <a:custGeom>
                <a:avLst/>
                <a:gdLst>
                  <a:gd name="T0" fmla="*/ 2147483647 w 116"/>
                  <a:gd name="T1" fmla="*/ 2147483647 h 135"/>
                  <a:gd name="T2" fmla="*/ 2147483647 w 116"/>
                  <a:gd name="T3" fmla="*/ 2147483647 h 135"/>
                  <a:gd name="T4" fmla="*/ 2147483647 w 116"/>
                  <a:gd name="T5" fmla="*/ 2147483647 h 135"/>
                  <a:gd name="T6" fmla="*/ 2147483647 w 116"/>
                  <a:gd name="T7" fmla="*/ 2147483647 h 135"/>
                  <a:gd name="T8" fmla="*/ 2147483647 w 116"/>
                  <a:gd name="T9" fmla="*/ 2147483647 h 135"/>
                  <a:gd name="T10" fmla="*/ 2147483647 w 116"/>
                  <a:gd name="T11" fmla="*/ 2147483647 h 135"/>
                  <a:gd name="T12" fmla="*/ 2147483647 w 116"/>
                  <a:gd name="T13" fmla="*/ 2147483647 h 135"/>
                  <a:gd name="T14" fmla="*/ 2147483647 w 116"/>
                  <a:gd name="T15" fmla="*/ 2147483647 h 135"/>
                  <a:gd name="T16" fmla="*/ 2147483647 w 116"/>
                  <a:gd name="T17" fmla="*/ 2147483647 h 135"/>
                  <a:gd name="T18" fmla="*/ 2147483647 w 116"/>
                  <a:gd name="T19" fmla="*/ 2147483647 h 135"/>
                  <a:gd name="T20" fmla="*/ 2147483647 w 116"/>
                  <a:gd name="T21" fmla="*/ 2147483647 h 135"/>
                  <a:gd name="T22" fmla="*/ 2147483647 w 116"/>
                  <a:gd name="T23" fmla="*/ 2147483647 h 135"/>
                  <a:gd name="T24" fmla="*/ 2147483647 w 116"/>
                  <a:gd name="T25" fmla="*/ 2147483647 h 135"/>
                  <a:gd name="T26" fmla="*/ 2147483647 w 116"/>
                  <a:gd name="T27" fmla="*/ 2147483647 h 135"/>
                  <a:gd name="T28" fmla="*/ 2147483647 w 116"/>
                  <a:gd name="T29" fmla="*/ 0 h 135"/>
                  <a:gd name="T30" fmla="*/ 2147483647 w 116"/>
                  <a:gd name="T31" fmla="*/ 2147483647 h 135"/>
                  <a:gd name="T32" fmla="*/ 2147483647 w 116"/>
                  <a:gd name="T33" fmla="*/ 2147483647 h 135"/>
                  <a:gd name="T34" fmla="*/ 2147483647 w 116"/>
                  <a:gd name="T35" fmla="*/ 2147483647 h 135"/>
                  <a:gd name="T36" fmla="*/ 2147483647 w 116"/>
                  <a:gd name="T37" fmla="*/ 2147483647 h 135"/>
                  <a:gd name="T38" fmla="*/ 2147483647 w 116"/>
                  <a:gd name="T39" fmla="*/ 2147483647 h 135"/>
                  <a:gd name="T40" fmla="*/ 2147483647 w 116"/>
                  <a:gd name="T41" fmla="*/ 2147483647 h 135"/>
                  <a:gd name="T42" fmla="*/ 2147483647 w 116"/>
                  <a:gd name="T43" fmla="*/ 2147483647 h 135"/>
                  <a:gd name="T44" fmla="*/ 2147483647 w 116"/>
                  <a:gd name="T45" fmla="*/ 2147483647 h 135"/>
                  <a:gd name="T46" fmla="*/ 2147483647 w 116"/>
                  <a:gd name="T47" fmla="*/ 2147483647 h 135"/>
                  <a:gd name="T48" fmla="*/ 0 w 116"/>
                  <a:gd name="T49" fmla="*/ 2147483647 h 135"/>
                  <a:gd name="T50" fmla="*/ 0 w 116"/>
                  <a:gd name="T51" fmla="*/ 2147483647 h 135"/>
                  <a:gd name="T52" fmla="*/ 2147483647 w 116"/>
                  <a:gd name="T53" fmla="*/ 2147483647 h 135"/>
                  <a:gd name="T54" fmla="*/ 2147483647 w 116"/>
                  <a:gd name="T55" fmla="*/ 2147483647 h 135"/>
                  <a:gd name="T56" fmla="*/ 2147483647 w 116"/>
                  <a:gd name="T57" fmla="*/ 2147483647 h 135"/>
                  <a:gd name="T58" fmla="*/ 2147483647 w 116"/>
                  <a:gd name="T59" fmla="*/ 2147483647 h 135"/>
                  <a:gd name="T60" fmla="*/ 2147483647 w 116"/>
                  <a:gd name="T61" fmla="*/ 2147483647 h 135"/>
                  <a:gd name="T62" fmla="*/ 2147483647 w 116"/>
                  <a:gd name="T63" fmla="*/ 2147483647 h 135"/>
                  <a:gd name="T64" fmla="*/ 2147483647 w 116"/>
                  <a:gd name="T65" fmla="*/ 2147483647 h 135"/>
                  <a:gd name="T66" fmla="*/ 2147483647 w 116"/>
                  <a:gd name="T67" fmla="*/ 2147483647 h 135"/>
                  <a:gd name="T68" fmla="*/ 2147483647 w 116"/>
                  <a:gd name="T69" fmla="*/ 2147483647 h 135"/>
                  <a:gd name="T70" fmla="*/ 2147483647 w 116"/>
                  <a:gd name="T71" fmla="*/ 2147483647 h 135"/>
                  <a:gd name="T72" fmla="*/ 2147483647 w 116"/>
                  <a:gd name="T73" fmla="*/ 2147483647 h 135"/>
                  <a:gd name="T74" fmla="*/ 2147483647 w 116"/>
                  <a:gd name="T75" fmla="*/ 2147483647 h 135"/>
                  <a:gd name="T76" fmla="*/ 2147483647 w 116"/>
                  <a:gd name="T77" fmla="*/ 2147483647 h 135"/>
                  <a:gd name="T78" fmla="*/ 2147483647 w 116"/>
                  <a:gd name="T79" fmla="*/ 2147483647 h 135"/>
                  <a:gd name="T80" fmla="*/ 2147483647 w 116"/>
                  <a:gd name="T81" fmla="*/ 2147483647 h 135"/>
                  <a:gd name="T82" fmla="*/ 2147483647 w 116"/>
                  <a:gd name="T83" fmla="*/ 2147483647 h 135"/>
                  <a:gd name="T84" fmla="*/ 2147483647 w 116"/>
                  <a:gd name="T85" fmla="*/ 2147483647 h 135"/>
                  <a:gd name="T86" fmla="*/ 2147483647 w 116"/>
                  <a:gd name="T87" fmla="*/ 2147483647 h 135"/>
                  <a:gd name="T88" fmla="*/ 2147483647 w 116"/>
                  <a:gd name="T89" fmla="*/ 2147483647 h 135"/>
                  <a:gd name="T90" fmla="*/ 2147483647 w 116"/>
                  <a:gd name="T91" fmla="*/ 2147483647 h 135"/>
                  <a:gd name="T92" fmla="*/ 2147483647 w 116"/>
                  <a:gd name="T93" fmla="*/ 2147483647 h 135"/>
                  <a:gd name="T94" fmla="*/ 2147483647 w 116"/>
                  <a:gd name="T95" fmla="*/ 2147483647 h 135"/>
                  <a:gd name="T96" fmla="*/ 2147483647 w 116"/>
                  <a:gd name="T97" fmla="*/ 2147483647 h 135"/>
                  <a:gd name="T98" fmla="*/ 2147483647 w 116"/>
                  <a:gd name="T99" fmla="*/ 2147483647 h 135"/>
                  <a:gd name="T100" fmla="*/ 2147483647 w 116"/>
                  <a:gd name="T101" fmla="*/ 2147483647 h 135"/>
                  <a:gd name="T102" fmla="*/ 2147483647 w 116"/>
                  <a:gd name="T103" fmla="*/ 2147483647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0" name="Freeform 39"/>
              <p:cNvSpPr>
                <a:spLocks noChangeAspect="1"/>
              </p:cNvSpPr>
              <p:nvPr/>
            </p:nvSpPr>
            <p:spPr bwMode="auto">
              <a:xfrm>
                <a:off x="5146675" y="4632325"/>
                <a:ext cx="187325" cy="195263"/>
              </a:xfrm>
              <a:custGeom>
                <a:avLst/>
                <a:gdLst>
                  <a:gd name="T0" fmla="*/ 2147483647 w 98"/>
                  <a:gd name="T1" fmla="*/ 2147483647 h 102"/>
                  <a:gd name="T2" fmla="*/ 2147483647 w 98"/>
                  <a:gd name="T3" fmla="*/ 2147483647 h 102"/>
                  <a:gd name="T4" fmla="*/ 2147483647 w 98"/>
                  <a:gd name="T5" fmla="*/ 2147483647 h 102"/>
                  <a:gd name="T6" fmla="*/ 2147483647 w 98"/>
                  <a:gd name="T7" fmla="*/ 2147483647 h 102"/>
                  <a:gd name="T8" fmla="*/ 2147483647 w 98"/>
                  <a:gd name="T9" fmla="*/ 2147483647 h 102"/>
                  <a:gd name="T10" fmla="*/ 2147483647 w 98"/>
                  <a:gd name="T11" fmla="*/ 2147483647 h 102"/>
                  <a:gd name="T12" fmla="*/ 2147483647 w 98"/>
                  <a:gd name="T13" fmla="*/ 2147483647 h 102"/>
                  <a:gd name="T14" fmla="*/ 2147483647 w 98"/>
                  <a:gd name="T15" fmla="*/ 2147483647 h 102"/>
                  <a:gd name="T16" fmla="*/ 2147483647 w 98"/>
                  <a:gd name="T17" fmla="*/ 2147483647 h 102"/>
                  <a:gd name="T18" fmla="*/ 2147483647 w 98"/>
                  <a:gd name="T19" fmla="*/ 2147483647 h 102"/>
                  <a:gd name="T20" fmla="*/ 2147483647 w 98"/>
                  <a:gd name="T21" fmla="*/ 2147483647 h 102"/>
                  <a:gd name="T22" fmla="*/ 2147483647 w 98"/>
                  <a:gd name="T23" fmla="*/ 2147483647 h 102"/>
                  <a:gd name="T24" fmla="*/ 2147483647 w 98"/>
                  <a:gd name="T25" fmla="*/ 2147483647 h 102"/>
                  <a:gd name="T26" fmla="*/ 2147483647 w 98"/>
                  <a:gd name="T27" fmla="*/ 2147483647 h 102"/>
                  <a:gd name="T28" fmla="*/ 2147483647 w 98"/>
                  <a:gd name="T29" fmla="*/ 2147483647 h 102"/>
                  <a:gd name="T30" fmla="*/ 2147483647 w 98"/>
                  <a:gd name="T31" fmla="*/ 2147483647 h 102"/>
                  <a:gd name="T32" fmla="*/ 2147483647 w 98"/>
                  <a:gd name="T33" fmla="*/ 2147483647 h 102"/>
                  <a:gd name="T34" fmla="*/ 2147483647 w 98"/>
                  <a:gd name="T35" fmla="*/ 2147483647 h 102"/>
                  <a:gd name="T36" fmla="*/ 2147483647 w 98"/>
                  <a:gd name="T37" fmla="*/ 2147483647 h 102"/>
                  <a:gd name="T38" fmla="*/ 2147483647 w 98"/>
                  <a:gd name="T39" fmla="*/ 2147483647 h 102"/>
                  <a:gd name="T40" fmla="*/ 2147483647 w 98"/>
                  <a:gd name="T41" fmla="*/ 2147483647 h 102"/>
                  <a:gd name="T42" fmla="*/ 2147483647 w 98"/>
                  <a:gd name="T43" fmla="*/ 2147483647 h 102"/>
                  <a:gd name="T44" fmla="*/ 2147483647 w 98"/>
                  <a:gd name="T45" fmla="*/ 2147483647 h 102"/>
                  <a:gd name="T46" fmla="*/ 2147483647 w 98"/>
                  <a:gd name="T47" fmla="*/ 2147483647 h 102"/>
                  <a:gd name="T48" fmla="*/ 2147483647 w 98"/>
                  <a:gd name="T49" fmla="*/ 2147483647 h 102"/>
                  <a:gd name="T50" fmla="*/ 2147483647 w 98"/>
                  <a:gd name="T51" fmla="*/ 2147483647 h 102"/>
                  <a:gd name="T52" fmla="*/ 2147483647 w 98"/>
                  <a:gd name="T53" fmla="*/ 2147483647 h 102"/>
                  <a:gd name="T54" fmla="*/ 2147483647 w 98"/>
                  <a:gd name="T55" fmla="*/ 2147483647 h 102"/>
                  <a:gd name="T56" fmla="*/ 2147483647 w 98"/>
                  <a:gd name="T57" fmla="*/ 2147483647 h 102"/>
                  <a:gd name="T58" fmla="*/ 2147483647 w 98"/>
                  <a:gd name="T59" fmla="*/ 2147483647 h 102"/>
                  <a:gd name="T60" fmla="*/ 2147483647 w 98"/>
                  <a:gd name="T61" fmla="*/ 2147483647 h 102"/>
                  <a:gd name="T62" fmla="*/ 0 w 98"/>
                  <a:gd name="T63" fmla="*/ 2147483647 h 102"/>
                  <a:gd name="T64" fmla="*/ 2147483647 w 98"/>
                  <a:gd name="T65" fmla="*/ 2147483647 h 102"/>
                  <a:gd name="T66" fmla="*/ 2147483647 w 98"/>
                  <a:gd name="T67" fmla="*/ 2147483647 h 102"/>
                  <a:gd name="T68" fmla="*/ 2147483647 w 98"/>
                  <a:gd name="T69" fmla="*/ 2147483647 h 102"/>
                  <a:gd name="T70" fmla="*/ 2147483647 w 98"/>
                  <a:gd name="T71" fmla="*/ 2147483647 h 102"/>
                  <a:gd name="T72" fmla="*/ 2147483647 w 98"/>
                  <a:gd name="T73" fmla="*/ 2147483647 h 102"/>
                  <a:gd name="T74" fmla="*/ 2147483647 w 98"/>
                  <a:gd name="T75" fmla="*/ 2147483647 h 102"/>
                  <a:gd name="T76" fmla="*/ 2147483647 w 98"/>
                  <a:gd name="T77" fmla="*/ 2147483647 h 102"/>
                  <a:gd name="T78" fmla="*/ 2147483647 w 98"/>
                  <a:gd name="T79" fmla="*/ 2147483647 h 102"/>
                  <a:gd name="T80" fmla="*/ 2147483647 w 98"/>
                  <a:gd name="T81" fmla="*/ 2147483647 h 102"/>
                  <a:gd name="T82" fmla="*/ 2147483647 w 98"/>
                  <a:gd name="T83" fmla="*/ 2147483647 h 102"/>
                  <a:gd name="T84" fmla="*/ 2147483647 w 98"/>
                  <a:gd name="T85" fmla="*/ 2147483647 h 102"/>
                  <a:gd name="T86" fmla="*/ 2147483647 w 98"/>
                  <a:gd name="T87" fmla="*/ 2147483647 h 102"/>
                  <a:gd name="T88" fmla="*/ 2147483647 w 98"/>
                  <a:gd name="T89" fmla="*/ 2147483647 h 102"/>
                  <a:gd name="T90" fmla="*/ 2147483647 w 98"/>
                  <a:gd name="T91" fmla="*/ 2147483647 h 102"/>
                  <a:gd name="T92" fmla="*/ 2147483647 w 98"/>
                  <a:gd name="T93" fmla="*/ 2147483647 h 102"/>
                  <a:gd name="T94" fmla="*/ 2147483647 w 98"/>
                  <a:gd name="T95" fmla="*/ 2147483647 h 102"/>
                  <a:gd name="T96" fmla="*/ 2147483647 w 98"/>
                  <a:gd name="T97" fmla="*/ 2147483647 h 102"/>
                  <a:gd name="T98" fmla="*/ 2147483647 w 98"/>
                  <a:gd name="T99" fmla="*/ 2147483647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chemeClr val="accent5">
                  <a:lumMod val="75000"/>
                </a:schemeClr>
              </a:solidFill>
              <a:ln w="3175" cap="rnd" cmpd="sng">
                <a:solidFill>
                  <a:srgbClr val="10394B"/>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1" name="Freeform 40"/>
              <p:cNvSpPr>
                <a:spLocks noChangeAspect="1"/>
              </p:cNvSpPr>
              <p:nvPr/>
            </p:nvSpPr>
            <p:spPr bwMode="auto">
              <a:xfrm>
                <a:off x="5267325" y="4484688"/>
                <a:ext cx="255588" cy="469900"/>
              </a:xfrm>
              <a:custGeom>
                <a:avLst/>
                <a:gdLst>
                  <a:gd name="T0" fmla="*/ 2147483647 w 134"/>
                  <a:gd name="T1" fmla="*/ 2147483647 h 247"/>
                  <a:gd name="T2" fmla="*/ 2147483647 w 134"/>
                  <a:gd name="T3" fmla="*/ 2147483647 h 247"/>
                  <a:gd name="T4" fmla="*/ 2147483647 w 134"/>
                  <a:gd name="T5" fmla="*/ 2147483647 h 247"/>
                  <a:gd name="T6" fmla="*/ 2147483647 w 134"/>
                  <a:gd name="T7" fmla="*/ 2147483647 h 247"/>
                  <a:gd name="T8" fmla="*/ 2147483647 w 134"/>
                  <a:gd name="T9" fmla="*/ 2147483647 h 247"/>
                  <a:gd name="T10" fmla="*/ 2147483647 w 134"/>
                  <a:gd name="T11" fmla="*/ 2147483647 h 247"/>
                  <a:gd name="T12" fmla="*/ 2147483647 w 134"/>
                  <a:gd name="T13" fmla="*/ 2147483647 h 247"/>
                  <a:gd name="T14" fmla="*/ 2147483647 w 134"/>
                  <a:gd name="T15" fmla="*/ 2147483647 h 247"/>
                  <a:gd name="T16" fmla="*/ 2147483647 w 134"/>
                  <a:gd name="T17" fmla="*/ 2147483647 h 247"/>
                  <a:gd name="T18" fmla="*/ 2147483647 w 134"/>
                  <a:gd name="T19" fmla="*/ 2147483647 h 247"/>
                  <a:gd name="T20" fmla="*/ 2147483647 w 134"/>
                  <a:gd name="T21" fmla="*/ 2147483647 h 247"/>
                  <a:gd name="T22" fmla="*/ 2147483647 w 134"/>
                  <a:gd name="T23" fmla="*/ 2147483647 h 247"/>
                  <a:gd name="T24" fmla="*/ 2147483647 w 134"/>
                  <a:gd name="T25" fmla="*/ 2147483647 h 247"/>
                  <a:gd name="T26" fmla="*/ 2147483647 w 134"/>
                  <a:gd name="T27" fmla="*/ 2147483647 h 247"/>
                  <a:gd name="T28" fmla="*/ 2147483647 w 134"/>
                  <a:gd name="T29" fmla="*/ 2147483647 h 247"/>
                  <a:gd name="T30" fmla="*/ 2147483647 w 134"/>
                  <a:gd name="T31" fmla="*/ 2147483647 h 247"/>
                  <a:gd name="T32" fmla="*/ 2147483647 w 134"/>
                  <a:gd name="T33" fmla="*/ 2147483647 h 247"/>
                  <a:gd name="T34" fmla="*/ 2147483647 w 134"/>
                  <a:gd name="T35" fmla="*/ 2147483647 h 247"/>
                  <a:gd name="T36" fmla="*/ 2147483647 w 134"/>
                  <a:gd name="T37" fmla="*/ 2147483647 h 247"/>
                  <a:gd name="T38" fmla="*/ 2147483647 w 134"/>
                  <a:gd name="T39" fmla="*/ 2147483647 h 247"/>
                  <a:gd name="T40" fmla="*/ 2147483647 w 134"/>
                  <a:gd name="T41" fmla="*/ 2147483647 h 247"/>
                  <a:gd name="T42" fmla="*/ 2147483647 w 134"/>
                  <a:gd name="T43" fmla="*/ 2147483647 h 247"/>
                  <a:gd name="T44" fmla="*/ 2147483647 w 134"/>
                  <a:gd name="T45" fmla="*/ 2147483647 h 247"/>
                  <a:gd name="T46" fmla="*/ 2147483647 w 134"/>
                  <a:gd name="T47" fmla="*/ 2147483647 h 247"/>
                  <a:gd name="T48" fmla="*/ 2147483647 w 134"/>
                  <a:gd name="T49" fmla="*/ 2147483647 h 247"/>
                  <a:gd name="T50" fmla="*/ 2147483647 w 134"/>
                  <a:gd name="T51" fmla="*/ 2147483647 h 247"/>
                  <a:gd name="T52" fmla="*/ 2147483647 w 134"/>
                  <a:gd name="T53" fmla="*/ 2147483647 h 247"/>
                  <a:gd name="T54" fmla="*/ 2147483647 w 134"/>
                  <a:gd name="T55" fmla="*/ 2147483647 h 247"/>
                  <a:gd name="T56" fmla="*/ 2147483647 w 134"/>
                  <a:gd name="T57" fmla="*/ 2147483647 h 247"/>
                  <a:gd name="T58" fmla="*/ 2147483647 w 134"/>
                  <a:gd name="T59" fmla="*/ 2147483647 h 247"/>
                  <a:gd name="T60" fmla="*/ 2147483647 w 134"/>
                  <a:gd name="T61" fmla="*/ 2147483647 h 247"/>
                  <a:gd name="T62" fmla="*/ 2147483647 w 134"/>
                  <a:gd name="T63" fmla="*/ 2147483647 h 247"/>
                  <a:gd name="T64" fmla="*/ 2147483647 w 134"/>
                  <a:gd name="T65" fmla="*/ 2147483647 h 247"/>
                  <a:gd name="T66" fmla="*/ 2147483647 w 134"/>
                  <a:gd name="T67" fmla="*/ 2147483647 h 247"/>
                  <a:gd name="T68" fmla="*/ 2147483647 w 134"/>
                  <a:gd name="T69" fmla="*/ 2147483647 h 247"/>
                  <a:gd name="T70" fmla="*/ 2147483647 w 134"/>
                  <a:gd name="T71" fmla="*/ 2147483647 h 247"/>
                  <a:gd name="T72" fmla="*/ 0 w 134"/>
                  <a:gd name="T73" fmla="*/ 2147483647 h 247"/>
                  <a:gd name="T74" fmla="*/ 2147483647 w 134"/>
                  <a:gd name="T75" fmla="*/ 2147483647 h 247"/>
                  <a:gd name="T76" fmla="*/ 2147483647 w 134"/>
                  <a:gd name="T77" fmla="*/ 2147483647 h 247"/>
                  <a:gd name="T78" fmla="*/ 2147483647 w 134"/>
                  <a:gd name="T79" fmla="*/ 2147483647 h 247"/>
                  <a:gd name="T80" fmla="*/ 2147483647 w 134"/>
                  <a:gd name="T81" fmla="*/ 2147483647 h 247"/>
                  <a:gd name="T82" fmla="*/ 2147483647 w 134"/>
                  <a:gd name="T83" fmla="*/ 2147483647 h 247"/>
                  <a:gd name="T84" fmla="*/ 2147483647 w 134"/>
                  <a:gd name="T85" fmla="*/ 2147483647 h 247"/>
                  <a:gd name="T86" fmla="*/ 2147483647 w 134"/>
                  <a:gd name="T87" fmla="*/ 2147483647 h 247"/>
                  <a:gd name="T88" fmla="*/ 2147483647 w 134"/>
                  <a:gd name="T89" fmla="*/ 2147483647 h 247"/>
                  <a:gd name="T90" fmla="*/ 2147483647 w 134"/>
                  <a:gd name="T91" fmla="*/ 2147483647 h 247"/>
                  <a:gd name="T92" fmla="*/ 2147483647 w 134"/>
                  <a:gd name="T93" fmla="*/ 2147483647 h 247"/>
                  <a:gd name="T94" fmla="*/ 2147483647 w 134"/>
                  <a:gd name="T95" fmla="*/ 2147483647 h 247"/>
                  <a:gd name="T96" fmla="*/ 2147483647 w 134"/>
                  <a:gd name="T97" fmla="*/ 2147483647 h 247"/>
                  <a:gd name="T98" fmla="*/ 2147483647 w 134"/>
                  <a:gd name="T99" fmla="*/ 2147483647 h 247"/>
                  <a:gd name="T100" fmla="*/ 2147483647 w 134"/>
                  <a:gd name="T101" fmla="*/ 2147483647 h 247"/>
                  <a:gd name="T102" fmla="*/ 2147483647 w 134"/>
                  <a:gd name="T103" fmla="*/ 2147483647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2" name="Freeform 41"/>
              <p:cNvSpPr>
                <a:spLocks noChangeAspect="1"/>
              </p:cNvSpPr>
              <p:nvPr/>
            </p:nvSpPr>
            <p:spPr bwMode="auto">
              <a:xfrm>
                <a:off x="5326063" y="4456113"/>
                <a:ext cx="77787" cy="214312"/>
              </a:xfrm>
              <a:custGeom>
                <a:avLst/>
                <a:gdLst>
                  <a:gd name="T0" fmla="*/ 2147483647 w 41"/>
                  <a:gd name="T1" fmla="*/ 0 h 113"/>
                  <a:gd name="T2" fmla="*/ 2147483647 w 41"/>
                  <a:gd name="T3" fmla="*/ 2147483647 h 113"/>
                  <a:gd name="T4" fmla="*/ 2147483647 w 41"/>
                  <a:gd name="T5" fmla="*/ 2147483647 h 113"/>
                  <a:gd name="T6" fmla="*/ 2147483647 w 41"/>
                  <a:gd name="T7" fmla="*/ 2147483647 h 113"/>
                  <a:gd name="T8" fmla="*/ 2147483647 w 41"/>
                  <a:gd name="T9" fmla="*/ 2147483647 h 113"/>
                  <a:gd name="T10" fmla="*/ 2147483647 w 41"/>
                  <a:gd name="T11" fmla="*/ 2147483647 h 113"/>
                  <a:gd name="T12" fmla="*/ 2147483647 w 41"/>
                  <a:gd name="T13" fmla="*/ 2147483647 h 113"/>
                  <a:gd name="T14" fmla="*/ 2147483647 w 41"/>
                  <a:gd name="T15" fmla="*/ 2147483647 h 113"/>
                  <a:gd name="T16" fmla="*/ 2147483647 w 41"/>
                  <a:gd name="T17" fmla="*/ 2147483647 h 113"/>
                  <a:gd name="T18" fmla="*/ 2147483647 w 41"/>
                  <a:gd name="T19" fmla="*/ 2147483647 h 113"/>
                  <a:gd name="T20" fmla="*/ 2147483647 w 41"/>
                  <a:gd name="T21" fmla="*/ 2147483647 h 113"/>
                  <a:gd name="T22" fmla="*/ 2147483647 w 41"/>
                  <a:gd name="T23" fmla="*/ 2147483647 h 113"/>
                  <a:gd name="T24" fmla="*/ 2147483647 w 41"/>
                  <a:gd name="T25" fmla="*/ 2147483647 h 113"/>
                  <a:gd name="T26" fmla="*/ 2147483647 w 41"/>
                  <a:gd name="T27" fmla="*/ 2147483647 h 113"/>
                  <a:gd name="T28" fmla="*/ 2147483647 w 41"/>
                  <a:gd name="T29" fmla="*/ 2147483647 h 113"/>
                  <a:gd name="T30" fmla="*/ 2147483647 w 41"/>
                  <a:gd name="T31" fmla="*/ 2147483647 h 113"/>
                  <a:gd name="T32" fmla="*/ 2147483647 w 41"/>
                  <a:gd name="T33" fmla="*/ 2147483647 h 113"/>
                  <a:gd name="T34" fmla="*/ 2147483647 w 41"/>
                  <a:gd name="T35" fmla="*/ 2147483647 h 113"/>
                  <a:gd name="T36" fmla="*/ 2147483647 w 41"/>
                  <a:gd name="T37" fmla="*/ 2147483647 h 113"/>
                  <a:gd name="T38" fmla="*/ 2147483647 w 41"/>
                  <a:gd name="T39" fmla="*/ 2147483647 h 113"/>
                  <a:gd name="T40" fmla="*/ 2147483647 w 41"/>
                  <a:gd name="T41" fmla="*/ 2147483647 h 113"/>
                  <a:gd name="T42" fmla="*/ 2147483647 w 41"/>
                  <a:gd name="T43" fmla="*/ 2147483647 h 113"/>
                  <a:gd name="T44" fmla="*/ 2147483647 w 41"/>
                  <a:gd name="T45" fmla="*/ 2147483647 h 113"/>
                  <a:gd name="T46" fmla="*/ 2147483647 w 41"/>
                  <a:gd name="T47" fmla="*/ 2147483647 h 113"/>
                  <a:gd name="T48" fmla="*/ 2147483647 w 41"/>
                  <a:gd name="T49" fmla="*/ 2147483647 h 113"/>
                  <a:gd name="T50" fmla="*/ 2147483647 w 41"/>
                  <a:gd name="T51" fmla="*/ 2147483647 h 113"/>
                  <a:gd name="T52" fmla="*/ 2147483647 w 41"/>
                  <a:gd name="T53" fmla="*/ 2147483647 h 113"/>
                  <a:gd name="T54" fmla="*/ 0 w 41"/>
                  <a:gd name="T55" fmla="*/ 2147483647 h 113"/>
                  <a:gd name="T56" fmla="*/ 2147483647 w 41"/>
                  <a:gd name="T57" fmla="*/ 2147483647 h 113"/>
                  <a:gd name="T58" fmla="*/ 2147483647 w 41"/>
                  <a:gd name="T59" fmla="*/ 2147483647 h 113"/>
                  <a:gd name="T60" fmla="*/ 2147483647 w 41"/>
                  <a:gd name="T61" fmla="*/ 2147483647 h 113"/>
                  <a:gd name="T62" fmla="*/ 2147483647 w 41"/>
                  <a:gd name="T63" fmla="*/ 2147483647 h 113"/>
                  <a:gd name="T64" fmla="*/ 2147483647 w 41"/>
                  <a:gd name="T65" fmla="*/ 2147483647 h 113"/>
                  <a:gd name="T66" fmla="*/ 2147483647 w 41"/>
                  <a:gd name="T67" fmla="*/ 2147483647 h 113"/>
                  <a:gd name="T68" fmla="*/ 2147483647 w 41"/>
                  <a:gd name="T69" fmla="*/ 2147483647 h 113"/>
                  <a:gd name="T70" fmla="*/ 2147483647 w 41"/>
                  <a:gd name="T71" fmla="*/ 2147483647 h 113"/>
                  <a:gd name="T72" fmla="*/ 2147483647 w 41"/>
                  <a:gd name="T73" fmla="*/ 2147483647 h 113"/>
                  <a:gd name="T74" fmla="*/ 2147483647 w 41"/>
                  <a:gd name="T75" fmla="*/ 2147483647 h 113"/>
                  <a:gd name="T76" fmla="*/ 214748364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3" name="Freeform 42"/>
              <p:cNvSpPr>
                <a:spLocks noChangeAspect="1"/>
              </p:cNvSpPr>
              <p:nvPr/>
            </p:nvSpPr>
            <p:spPr bwMode="auto">
              <a:xfrm>
                <a:off x="4824413" y="4359275"/>
                <a:ext cx="300037" cy="342900"/>
              </a:xfrm>
              <a:custGeom>
                <a:avLst/>
                <a:gdLst>
                  <a:gd name="T0" fmla="*/ 2147483647 w 157"/>
                  <a:gd name="T1" fmla="*/ 2147483647 h 180"/>
                  <a:gd name="T2" fmla="*/ 2147483647 w 157"/>
                  <a:gd name="T3" fmla="*/ 2147483647 h 180"/>
                  <a:gd name="T4" fmla="*/ 2147483647 w 157"/>
                  <a:gd name="T5" fmla="*/ 2147483647 h 180"/>
                  <a:gd name="T6" fmla="*/ 2147483647 w 157"/>
                  <a:gd name="T7" fmla="*/ 2147483647 h 180"/>
                  <a:gd name="T8" fmla="*/ 2147483647 w 157"/>
                  <a:gd name="T9" fmla="*/ 2147483647 h 180"/>
                  <a:gd name="T10" fmla="*/ 2147483647 w 157"/>
                  <a:gd name="T11" fmla="*/ 2147483647 h 180"/>
                  <a:gd name="T12" fmla="*/ 2147483647 w 157"/>
                  <a:gd name="T13" fmla="*/ 2147483647 h 180"/>
                  <a:gd name="T14" fmla="*/ 2147483647 w 157"/>
                  <a:gd name="T15" fmla="*/ 2147483647 h 180"/>
                  <a:gd name="T16" fmla="*/ 2147483647 w 157"/>
                  <a:gd name="T17" fmla="*/ 2147483647 h 180"/>
                  <a:gd name="T18" fmla="*/ 2147483647 w 157"/>
                  <a:gd name="T19" fmla="*/ 2147483647 h 180"/>
                  <a:gd name="T20" fmla="*/ 2147483647 w 157"/>
                  <a:gd name="T21" fmla="*/ 2147483647 h 180"/>
                  <a:gd name="T22" fmla="*/ 2147483647 w 157"/>
                  <a:gd name="T23" fmla="*/ 2147483647 h 180"/>
                  <a:gd name="T24" fmla="*/ 2147483647 w 157"/>
                  <a:gd name="T25" fmla="*/ 2147483647 h 180"/>
                  <a:gd name="T26" fmla="*/ 2147483647 w 157"/>
                  <a:gd name="T27" fmla="*/ 2147483647 h 180"/>
                  <a:gd name="T28" fmla="*/ 2147483647 w 157"/>
                  <a:gd name="T29" fmla="*/ 2147483647 h 180"/>
                  <a:gd name="T30" fmla="*/ 2147483647 w 157"/>
                  <a:gd name="T31" fmla="*/ 2147483647 h 180"/>
                  <a:gd name="T32" fmla="*/ 2147483647 w 157"/>
                  <a:gd name="T33" fmla="*/ 2147483647 h 180"/>
                  <a:gd name="T34" fmla="*/ 2147483647 w 157"/>
                  <a:gd name="T35" fmla="*/ 2147483647 h 180"/>
                  <a:gd name="T36" fmla="*/ 2147483647 w 157"/>
                  <a:gd name="T37" fmla="*/ 2147483647 h 180"/>
                  <a:gd name="T38" fmla="*/ 2147483647 w 157"/>
                  <a:gd name="T39" fmla="*/ 2147483647 h 180"/>
                  <a:gd name="T40" fmla="*/ 2147483647 w 157"/>
                  <a:gd name="T41" fmla="*/ 2147483647 h 180"/>
                  <a:gd name="T42" fmla="*/ 2147483647 w 157"/>
                  <a:gd name="T43" fmla="*/ 2147483647 h 180"/>
                  <a:gd name="T44" fmla="*/ 2147483647 w 157"/>
                  <a:gd name="T45" fmla="*/ 2147483647 h 180"/>
                  <a:gd name="T46" fmla="*/ 2147483647 w 157"/>
                  <a:gd name="T47" fmla="*/ 2147483647 h 180"/>
                  <a:gd name="T48" fmla="*/ 2147483647 w 157"/>
                  <a:gd name="T49" fmla="*/ 2147483647 h 180"/>
                  <a:gd name="T50" fmla="*/ 2147483647 w 157"/>
                  <a:gd name="T51" fmla="*/ 2147483647 h 180"/>
                  <a:gd name="T52" fmla="*/ 2147483647 w 157"/>
                  <a:gd name="T53" fmla="*/ 2147483647 h 180"/>
                  <a:gd name="T54" fmla="*/ 2147483647 w 157"/>
                  <a:gd name="T55" fmla="*/ 2147483647 h 180"/>
                  <a:gd name="T56" fmla="*/ 2147483647 w 157"/>
                  <a:gd name="T57" fmla="*/ 2147483647 h 180"/>
                  <a:gd name="T58" fmla="*/ 2147483647 w 157"/>
                  <a:gd name="T59" fmla="*/ 2147483647 h 180"/>
                  <a:gd name="T60" fmla="*/ 2147483647 w 157"/>
                  <a:gd name="T61" fmla="*/ 2147483647 h 180"/>
                  <a:gd name="T62" fmla="*/ 2147483647 w 157"/>
                  <a:gd name="T63" fmla="*/ 2147483647 h 180"/>
                  <a:gd name="T64" fmla="*/ 2147483647 w 157"/>
                  <a:gd name="T65" fmla="*/ 2147483647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4" name="Freeform 43"/>
              <p:cNvSpPr>
                <a:spLocks noChangeAspect="1"/>
              </p:cNvSpPr>
              <p:nvPr/>
            </p:nvSpPr>
            <p:spPr bwMode="auto">
              <a:xfrm>
                <a:off x="5240338" y="4262438"/>
                <a:ext cx="46037" cy="65087"/>
              </a:xfrm>
              <a:custGeom>
                <a:avLst/>
                <a:gdLst>
                  <a:gd name="T0" fmla="*/ 2147483647 w 24"/>
                  <a:gd name="T1" fmla="*/ 2147483647 h 34"/>
                  <a:gd name="T2" fmla="*/ 2147483647 w 24"/>
                  <a:gd name="T3" fmla="*/ 2147483647 h 34"/>
                  <a:gd name="T4" fmla="*/ 2147483647 w 24"/>
                  <a:gd name="T5" fmla="*/ 2147483647 h 34"/>
                  <a:gd name="T6" fmla="*/ 2147483647 w 24"/>
                  <a:gd name="T7" fmla="*/ 2147483647 h 34"/>
                  <a:gd name="T8" fmla="*/ 0 w 24"/>
                  <a:gd name="T9" fmla="*/ 2147483647 h 34"/>
                  <a:gd name="T10" fmla="*/ 2147483647 w 24"/>
                  <a:gd name="T11" fmla="*/ 2147483647 h 34"/>
                  <a:gd name="T12" fmla="*/ 2147483647 w 24"/>
                  <a:gd name="T13" fmla="*/ 2147483647 h 34"/>
                  <a:gd name="T14" fmla="*/ 2147483647 w 24"/>
                  <a:gd name="T15" fmla="*/ 2147483647 h 34"/>
                  <a:gd name="T16" fmla="*/ 2147483647 w 24"/>
                  <a:gd name="T17" fmla="*/ 2147483647 h 34"/>
                  <a:gd name="T18" fmla="*/ 2147483647 w 24"/>
                  <a:gd name="T19" fmla="*/ 2147483647 h 34"/>
                  <a:gd name="T20" fmla="*/ 2147483647 w 24"/>
                  <a:gd name="T21" fmla="*/ 2147483647 h 34"/>
                  <a:gd name="T22" fmla="*/ 2147483647 w 24"/>
                  <a:gd name="T23" fmla="*/ 2147483647 h 34"/>
                  <a:gd name="T24" fmla="*/ 2147483647 w 24"/>
                  <a:gd name="T25" fmla="*/ 2147483647 h 34"/>
                  <a:gd name="T26" fmla="*/ 2147483647 w 24"/>
                  <a:gd name="T27" fmla="*/ 2147483647 h 34"/>
                  <a:gd name="T28" fmla="*/ 2147483647 w 24"/>
                  <a:gd name="T29" fmla="*/ 2147483647 h 34"/>
                  <a:gd name="T30" fmla="*/ 2147483647 w 24"/>
                  <a:gd name="T31" fmla="*/ 2147483647 h 34"/>
                  <a:gd name="T32" fmla="*/ 2147483647 w 24"/>
                  <a:gd name="T33" fmla="*/ 2147483647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5" name="Freeform 44"/>
              <p:cNvSpPr>
                <a:spLocks noChangeAspect="1"/>
              </p:cNvSpPr>
              <p:nvPr/>
            </p:nvSpPr>
            <p:spPr bwMode="auto">
              <a:xfrm>
                <a:off x="4830763" y="4319588"/>
                <a:ext cx="26987" cy="41275"/>
              </a:xfrm>
              <a:custGeom>
                <a:avLst/>
                <a:gdLst>
                  <a:gd name="T0" fmla="*/ 2147483647 w 14"/>
                  <a:gd name="T1" fmla="*/ 2147483647 h 21"/>
                  <a:gd name="T2" fmla="*/ 2147483647 w 14"/>
                  <a:gd name="T3" fmla="*/ 2147483647 h 21"/>
                  <a:gd name="T4" fmla="*/ 0 w 14"/>
                  <a:gd name="T5" fmla="*/ 2147483647 h 21"/>
                  <a:gd name="T6" fmla="*/ 2147483647 w 14"/>
                  <a:gd name="T7" fmla="*/ 2147483647 h 21"/>
                  <a:gd name="T8" fmla="*/ 2147483647 w 14"/>
                  <a:gd name="T9" fmla="*/ 2147483647 h 21"/>
                  <a:gd name="T10" fmla="*/ 2147483647 w 14"/>
                  <a:gd name="T11" fmla="*/ 2147483647 h 21"/>
                  <a:gd name="T12" fmla="*/ 2147483647 w 14"/>
                  <a:gd name="T13" fmla="*/ 2147483647 h 21"/>
                  <a:gd name="T14" fmla="*/ 2147483647 w 14"/>
                  <a:gd name="T15" fmla="*/ 2147483647 h 2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6" name="Freeform 45"/>
              <p:cNvSpPr>
                <a:spLocks noChangeAspect="1"/>
              </p:cNvSpPr>
              <p:nvPr/>
            </p:nvSpPr>
            <p:spPr bwMode="auto">
              <a:xfrm>
                <a:off x="4837113" y="4052888"/>
                <a:ext cx="458787" cy="525462"/>
              </a:xfrm>
              <a:custGeom>
                <a:avLst/>
                <a:gdLst>
                  <a:gd name="T0" fmla="*/ 2147483647 w 241"/>
                  <a:gd name="T1" fmla="*/ 2147483647 h 275"/>
                  <a:gd name="T2" fmla="*/ 2147483647 w 241"/>
                  <a:gd name="T3" fmla="*/ 2147483647 h 275"/>
                  <a:gd name="T4" fmla="*/ 2147483647 w 241"/>
                  <a:gd name="T5" fmla="*/ 2147483647 h 275"/>
                  <a:gd name="T6" fmla="*/ 2147483647 w 241"/>
                  <a:gd name="T7" fmla="*/ 2147483647 h 275"/>
                  <a:gd name="T8" fmla="*/ 2147483647 w 241"/>
                  <a:gd name="T9" fmla="*/ 2147483647 h 275"/>
                  <a:gd name="T10" fmla="*/ 2147483647 w 241"/>
                  <a:gd name="T11" fmla="*/ 2147483647 h 275"/>
                  <a:gd name="T12" fmla="*/ 2147483647 w 241"/>
                  <a:gd name="T13" fmla="*/ 2147483647 h 275"/>
                  <a:gd name="T14" fmla="*/ 2147483647 w 241"/>
                  <a:gd name="T15" fmla="*/ 2147483647 h 275"/>
                  <a:gd name="T16" fmla="*/ 2147483647 w 241"/>
                  <a:gd name="T17" fmla="*/ 2147483647 h 275"/>
                  <a:gd name="T18" fmla="*/ 2147483647 w 241"/>
                  <a:gd name="T19" fmla="*/ 2147483647 h 275"/>
                  <a:gd name="T20" fmla="*/ 2147483647 w 241"/>
                  <a:gd name="T21" fmla="*/ 2147483647 h 275"/>
                  <a:gd name="T22" fmla="*/ 2147483647 w 241"/>
                  <a:gd name="T23" fmla="*/ 0 h 275"/>
                  <a:gd name="T24" fmla="*/ 2147483647 w 241"/>
                  <a:gd name="T25" fmla="*/ 2147483647 h 275"/>
                  <a:gd name="T26" fmla="*/ 2147483647 w 241"/>
                  <a:gd name="T27" fmla="*/ 2147483647 h 275"/>
                  <a:gd name="T28" fmla="*/ 2147483647 w 241"/>
                  <a:gd name="T29" fmla="*/ 2147483647 h 275"/>
                  <a:gd name="T30" fmla="*/ 2147483647 w 241"/>
                  <a:gd name="T31" fmla="*/ 2147483647 h 275"/>
                  <a:gd name="T32" fmla="*/ 2147483647 w 241"/>
                  <a:gd name="T33" fmla="*/ 2147483647 h 275"/>
                  <a:gd name="T34" fmla="*/ 2147483647 w 241"/>
                  <a:gd name="T35" fmla="*/ 2147483647 h 275"/>
                  <a:gd name="T36" fmla="*/ 2147483647 w 241"/>
                  <a:gd name="T37" fmla="*/ 2147483647 h 275"/>
                  <a:gd name="T38" fmla="*/ 2147483647 w 241"/>
                  <a:gd name="T39" fmla="*/ 2147483647 h 275"/>
                  <a:gd name="T40" fmla="*/ 2147483647 w 241"/>
                  <a:gd name="T41" fmla="*/ 2147483647 h 275"/>
                  <a:gd name="T42" fmla="*/ 2147483647 w 241"/>
                  <a:gd name="T43" fmla="*/ 2147483647 h 275"/>
                  <a:gd name="T44" fmla="*/ 2147483647 w 241"/>
                  <a:gd name="T45" fmla="*/ 2147483647 h 275"/>
                  <a:gd name="T46" fmla="*/ 2147483647 w 241"/>
                  <a:gd name="T47" fmla="*/ 2147483647 h 275"/>
                  <a:gd name="T48" fmla="*/ 2147483647 w 241"/>
                  <a:gd name="T49" fmla="*/ 2147483647 h 275"/>
                  <a:gd name="T50" fmla="*/ 2147483647 w 241"/>
                  <a:gd name="T51" fmla="*/ 2147483647 h 275"/>
                  <a:gd name="T52" fmla="*/ 2147483647 w 241"/>
                  <a:gd name="T53" fmla="*/ 2147483647 h 275"/>
                  <a:gd name="T54" fmla="*/ 2147483647 w 241"/>
                  <a:gd name="T55" fmla="*/ 2147483647 h 275"/>
                  <a:gd name="T56" fmla="*/ 2147483647 w 241"/>
                  <a:gd name="T57" fmla="*/ 2147483647 h 275"/>
                  <a:gd name="T58" fmla="*/ 2147483647 w 241"/>
                  <a:gd name="T59" fmla="*/ 2147483647 h 275"/>
                  <a:gd name="T60" fmla="*/ 2147483647 w 241"/>
                  <a:gd name="T61" fmla="*/ 2147483647 h 275"/>
                  <a:gd name="T62" fmla="*/ 2147483647 w 241"/>
                  <a:gd name="T63" fmla="*/ 2147483647 h 275"/>
                  <a:gd name="T64" fmla="*/ 2147483647 w 241"/>
                  <a:gd name="T65" fmla="*/ 2147483647 h 275"/>
                  <a:gd name="T66" fmla="*/ 2147483647 w 241"/>
                  <a:gd name="T67" fmla="*/ 2147483647 h 275"/>
                  <a:gd name="T68" fmla="*/ 2147483647 w 241"/>
                  <a:gd name="T69" fmla="*/ 2147483647 h 275"/>
                  <a:gd name="T70" fmla="*/ 2147483647 w 241"/>
                  <a:gd name="T71" fmla="*/ 2147483647 h 275"/>
                  <a:gd name="T72" fmla="*/ 2147483647 w 241"/>
                  <a:gd name="T73" fmla="*/ 2147483647 h 275"/>
                  <a:gd name="T74" fmla="*/ 2147483647 w 241"/>
                  <a:gd name="T75" fmla="*/ 2147483647 h 275"/>
                  <a:gd name="T76" fmla="*/ 2147483647 w 241"/>
                  <a:gd name="T77" fmla="*/ 2147483647 h 275"/>
                  <a:gd name="T78" fmla="*/ 2147483647 w 241"/>
                  <a:gd name="T79" fmla="*/ 2147483647 h 275"/>
                  <a:gd name="T80" fmla="*/ 2147483647 w 241"/>
                  <a:gd name="T81" fmla="*/ 2147483647 h 275"/>
                  <a:gd name="T82" fmla="*/ 2147483647 w 241"/>
                  <a:gd name="T83" fmla="*/ 2147483647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7" name="Freeform 46"/>
              <p:cNvSpPr>
                <a:spLocks noChangeAspect="1"/>
              </p:cNvSpPr>
              <p:nvPr/>
            </p:nvSpPr>
            <p:spPr bwMode="auto">
              <a:xfrm>
                <a:off x="4810125" y="4097338"/>
                <a:ext cx="182563" cy="238125"/>
              </a:xfrm>
              <a:custGeom>
                <a:avLst/>
                <a:gdLst>
                  <a:gd name="T0" fmla="*/ 2147483647 w 96"/>
                  <a:gd name="T1" fmla="*/ 2147483647 h 125"/>
                  <a:gd name="T2" fmla="*/ 2147483647 w 96"/>
                  <a:gd name="T3" fmla="*/ 2147483647 h 125"/>
                  <a:gd name="T4" fmla="*/ 0 w 96"/>
                  <a:gd name="T5" fmla="*/ 2147483647 h 125"/>
                  <a:gd name="T6" fmla="*/ 2147483647 w 96"/>
                  <a:gd name="T7" fmla="*/ 2147483647 h 125"/>
                  <a:gd name="T8" fmla="*/ 2147483647 w 96"/>
                  <a:gd name="T9" fmla="*/ 2147483647 h 125"/>
                  <a:gd name="T10" fmla="*/ 2147483647 w 96"/>
                  <a:gd name="T11" fmla="*/ 2147483647 h 125"/>
                  <a:gd name="T12" fmla="*/ 2147483647 w 96"/>
                  <a:gd name="T13" fmla="*/ 2147483647 h 125"/>
                  <a:gd name="T14" fmla="*/ 2147483647 w 96"/>
                  <a:gd name="T15" fmla="*/ 2147483647 h 125"/>
                  <a:gd name="T16" fmla="*/ 2147483647 w 96"/>
                  <a:gd name="T17" fmla="*/ 2147483647 h 125"/>
                  <a:gd name="T18" fmla="*/ 2147483647 w 96"/>
                  <a:gd name="T19" fmla="*/ 2147483647 h 125"/>
                  <a:gd name="T20" fmla="*/ 2147483647 w 96"/>
                  <a:gd name="T21" fmla="*/ 2147483647 h 125"/>
                  <a:gd name="T22" fmla="*/ 2147483647 w 96"/>
                  <a:gd name="T23" fmla="*/ 2147483647 h 125"/>
                  <a:gd name="T24" fmla="*/ 2147483647 w 96"/>
                  <a:gd name="T25" fmla="*/ 2147483647 h 125"/>
                  <a:gd name="T26" fmla="*/ 2147483647 w 96"/>
                  <a:gd name="T27" fmla="*/ 2147483647 h 125"/>
                  <a:gd name="T28" fmla="*/ 2147483647 w 96"/>
                  <a:gd name="T29" fmla="*/ 2147483647 h 125"/>
                  <a:gd name="T30" fmla="*/ 2147483647 w 96"/>
                  <a:gd name="T31" fmla="*/ 2147483647 h 125"/>
                  <a:gd name="T32" fmla="*/ 2147483647 w 96"/>
                  <a:gd name="T33" fmla="*/ 2147483647 h 125"/>
                  <a:gd name="T34" fmla="*/ 2147483647 w 96"/>
                  <a:gd name="T35" fmla="*/ 2147483647 h 125"/>
                  <a:gd name="T36" fmla="*/ 2147483647 w 96"/>
                  <a:gd name="T37" fmla="*/ 2147483647 h 125"/>
                  <a:gd name="T38" fmla="*/ 2147483647 w 96"/>
                  <a:gd name="T39" fmla="*/ 2147483647 h 125"/>
                  <a:gd name="T40" fmla="*/ 2147483647 w 96"/>
                  <a:gd name="T41" fmla="*/ 2147483647 h 125"/>
                  <a:gd name="T42" fmla="*/ 2147483647 w 96"/>
                  <a:gd name="T43" fmla="*/ 2147483647 h 125"/>
                  <a:gd name="T44" fmla="*/ 2147483647 w 96"/>
                  <a:gd name="T45" fmla="*/ 2147483647 h 125"/>
                  <a:gd name="T46" fmla="*/ 2147483647 w 96"/>
                  <a:gd name="T47" fmla="*/ 2147483647 h 125"/>
                  <a:gd name="T48" fmla="*/ 2147483647 w 96"/>
                  <a:gd name="T49" fmla="*/ 2147483647 h 125"/>
                  <a:gd name="T50" fmla="*/ 2147483647 w 96"/>
                  <a:gd name="T51" fmla="*/ 2147483647 h 125"/>
                  <a:gd name="T52" fmla="*/ 2147483647 w 96"/>
                  <a:gd name="T53" fmla="*/ 2147483647 h 125"/>
                  <a:gd name="T54" fmla="*/ 2147483647 w 96"/>
                  <a:gd name="T55" fmla="*/ 2147483647 h 125"/>
                  <a:gd name="T56" fmla="*/ 2147483647 w 96"/>
                  <a:gd name="T57" fmla="*/ 2147483647 h 125"/>
                  <a:gd name="T58" fmla="*/ 2147483647 w 96"/>
                  <a:gd name="T59" fmla="*/ 2147483647 h 125"/>
                  <a:gd name="T60" fmla="*/ 2147483647 w 96"/>
                  <a:gd name="T61" fmla="*/ 2147483647 h 125"/>
                  <a:gd name="T62" fmla="*/ 2147483647 w 96"/>
                  <a:gd name="T63" fmla="*/ 2147483647 h 125"/>
                  <a:gd name="T64" fmla="*/ 2147483647 w 96"/>
                  <a:gd name="T65" fmla="*/ 0 h 125"/>
                  <a:gd name="T66" fmla="*/ 2147483647 w 96"/>
                  <a:gd name="T67" fmla="*/ 2147483647 h 125"/>
                  <a:gd name="T68" fmla="*/ 2147483647 w 96"/>
                  <a:gd name="T69" fmla="*/ 2147483647 h 125"/>
                  <a:gd name="T70" fmla="*/ 2147483647 w 96"/>
                  <a:gd name="T71" fmla="*/ 2147483647 h 125"/>
                  <a:gd name="T72" fmla="*/ 2147483647 w 96"/>
                  <a:gd name="T73" fmla="*/ 2147483647 h 125"/>
                  <a:gd name="T74" fmla="*/ 2147483647 w 96"/>
                  <a:gd name="T75" fmla="*/ 2147483647 h 125"/>
                  <a:gd name="T76" fmla="*/ 2147483647 w 96"/>
                  <a:gd name="T77" fmla="*/ 2147483647 h 125"/>
                  <a:gd name="T78" fmla="*/ 2147483647 w 96"/>
                  <a:gd name="T79" fmla="*/ 2147483647 h 125"/>
                  <a:gd name="T80" fmla="*/ 2147483647 w 96"/>
                  <a:gd name="T81" fmla="*/ 2147483647 h 125"/>
                  <a:gd name="T82" fmla="*/ 2147483647 w 96"/>
                  <a:gd name="T83" fmla="*/ 2147483647 h 125"/>
                  <a:gd name="T84" fmla="*/ 2147483647 w 96"/>
                  <a:gd name="T85" fmla="*/ 2147483647 h 125"/>
                  <a:gd name="T86" fmla="*/ 2147483647 w 96"/>
                  <a:gd name="T87" fmla="*/ 2147483647 h 125"/>
                  <a:gd name="T88" fmla="*/ 2147483647 w 96"/>
                  <a:gd name="T89" fmla="*/ 2147483647 h 125"/>
                  <a:gd name="T90" fmla="*/ 2147483647 w 96"/>
                  <a:gd name="T91" fmla="*/ 2147483647 h 125"/>
                  <a:gd name="T92" fmla="*/ 2147483647 w 96"/>
                  <a:gd name="T93" fmla="*/ 2147483647 h 125"/>
                  <a:gd name="T94" fmla="*/ 2147483647 w 96"/>
                  <a:gd name="T95" fmla="*/ 2147483647 h 125"/>
                  <a:gd name="T96" fmla="*/ 2147483647 w 96"/>
                  <a:gd name="T97" fmla="*/ 2147483647 h 125"/>
                  <a:gd name="T98" fmla="*/ 2147483647 w 96"/>
                  <a:gd name="T99" fmla="*/ 2147483647 h 125"/>
                  <a:gd name="T100" fmla="*/ 2147483647 w 96"/>
                  <a:gd name="T101" fmla="*/ 2147483647 h 125"/>
                  <a:gd name="T102" fmla="*/ 2147483647 w 96"/>
                  <a:gd name="T103" fmla="*/ 2147483647 h 125"/>
                  <a:gd name="T104" fmla="*/ 2147483647 w 96"/>
                  <a:gd name="T105" fmla="*/ 2147483647 h 125"/>
                  <a:gd name="T106" fmla="*/ 2147483647 w 96"/>
                  <a:gd name="T107" fmla="*/ 2147483647 h 125"/>
                  <a:gd name="T108" fmla="*/ 2147483647 w 96"/>
                  <a:gd name="T109" fmla="*/ 2147483647 h 125"/>
                  <a:gd name="T110" fmla="*/ 2147483647 w 96"/>
                  <a:gd name="T111" fmla="*/ 2147483647 h 125"/>
                  <a:gd name="T112" fmla="*/ 2147483647 w 96"/>
                  <a:gd name="T113" fmla="*/ 2147483647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8" name="Freeform 47"/>
              <p:cNvSpPr>
                <a:spLocks noChangeAspect="1"/>
              </p:cNvSpPr>
              <p:nvPr/>
            </p:nvSpPr>
            <p:spPr bwMode="auto">
              <a:xfrm>
                <a:off x="4756150" y="4135438"/>
                <a:ext cx="139700" cy="171450"/>
              </a:xfrm>
              <a:custGeom>
                <a:avLst/>
                <a:gdLst>
                  <a:gd name="T0" fmla="*/ 2147483647 w 73"/>
                  <a:gd name="T1" fmla="*/ 2147483647 h 90"/>
                  <a:gd name="T2" fmla="*/ 2147483647 w 73"/>
                  <a:gd name="T3" fmla="*/ 0 h 90"/>
                  <a:gd name="T4" fmla="*/ 2147483647 w 73"/>
                  <a:gd name="T5" fmla="*/ 0 h 90"/>
                  <a:gd name="T6" fmla="*/ 2147483647 w 73"/>
                  <a:gd name="T7" fmla="*/ 2147483647 h 90"/>
                  <a:gd name="T8" fmla="*/ 2147483647 w 73"/>
                  <a:gd name="T9" fmla="*/ 2147483647 h 90"/>
                  <a:gd name="T10" fmla="*/ 2147483647 w 73"/>
                  <a:gd name="T11" fmla="*/ 2147483647 h 90"/>
                  <a:gd name="T12" fmla="*/ 2147483647 w 73"/>
                  <a:gd name="T13" fmla="*/ 2147483647 h 90"/>
                  <a:gd name="T14" fmla="*/ 2147483647 w 73"/>
                  <a:gd name="T15" fmla="*/ 2147483647 h 90"/>
                  <a:gd name="T16" fmla="*/ 2147483647 w 73"/>
                  <a:gd name="T17" fmla="*/ 2147483647 h 90"/>
                  <a:gd name="T18" fmla="*/ 2147483647 w 73"/>
                  <a:gd name="T19" fmla="*/ 2147483647 h 90"/>
                  <a:gd name="T20" fmla="*/ 0 w 73"/>
                  <a:gd name="T21" fmla="*/ 2147483647 h 90"/>
                  <a:gd name="T22" fmla="*/ 2147483647 w 73"/>
                  <a:gd name="T23" fmla="*/ 2147483647 h 90"/>
                  <a:gd name="T24" fmla="*/ 2147483647 w 73"/>
                  <a:gd name="T25" fmla="*/ 2147483647 h 90"/>
                  <a:gd name="T26" fmla="*/ 2147483647 w 73"/>
                  <a:gd name="T27" fmla="*/ 2147483647 h 90"/>
                  <a:gd name="T28" fmla="*/ 2147483647 w 73"/>
                  <a:gd name="T29" fmla="*/ 2147483647 h 90"/>
                  <a:gd name="T30" fmla="*/ 2147483647 w 73"/>
                  <a:gd name="T31" fmla="*/ 2147483647 h 90"/>
                  <a:gd name="T32" fmla="*/ 2147483647 w 73"/>
                  <a:gd name="T33" fmla="*/ 2147483647 h 90"/>
                  <a:gd name="T34" fmla="*/ 2147483647 w 73"/>
                  <a:gd name="T35" fmla="*/ 2147483647 h 90"/>
                  <a:gd name="T36" fmla="*/ 2147483647 w 73"/>
                  <a:gd name="T37" fmla="*/ 2147483647 h 90"/>
                  <a:gd name="T38" fmla="*/ 2147483647 w 73"/>
                  <a:gd name="T39" fmla="*/ 2147483647 h 90"/>
                  <a:gd name="T40" fmla="*/ 2147483647 w 73"/>
                  <a:gd name="T41" fmla="*/ 2147483647 h 90"/>
                  <a:gd name="T42" fmla="*/ 2147483647 w 73"/>
                  <a:gd name="T43" fmla="*/ 2147483647 h 90"/>
                  <a:gd name="T44" fmla="*/ 2147483647 w 73"/>
                  <a:gd name="T45" fmla="*/ 2147483647 h 90"/>
                  <a:gd name="T46" fmla="*/ 2147483647 w 73"/>
                  <a:gd name="T47" fmla="*/ 2147483647 h 90"/>
                  <a:gd name="T48" fmla="*/ 2147483647 w 73"/>
                  <a:gd name="T49" fmla="*/ 2147483647 h 90"/>
                  <a:gd name="T50" fmla="*/ 2147483647 w 73"/>
                  <a:gd name="T51" fmla="*/ 2147483647 h 90"/>
                  <a:gd name="T52" fmla="*/ 2147483647 w 73"/>
                  <a:gd name="T53" fmla="*/ 2147483647 h 90"/>
                  <a:gd name="T54" fmla="*/ 2147483647 w 73"/>
                  <a:gd name="T55" fmla="*/ 2147483647 h 90"/>
                  <a:gd name="T56" fmla="*/ 2147483647 w 73"/>
                  <a:gd name="T57" fmla="*/ 2147483647 h 90"/>
                  <a:gd name="T58" fmla="*/ 2147483647 w 73"/>
                  <a:gd name="T59" fmla="*/ 2147483647 h 90"/>
                  <a:gd name="T60" fmla="*/ 2147483647 w 73"/>
                  <a:gd name="T61" fmla="*/ 2147483647 h 90"/>
                  <a:gd name="T62" fmla="*/ 2147483647 w 73"/>
                  <a:gd name="T63" fmla="*/ 2147483647 h 90"/>
                  <a:gd name="T64" fmla="*/ 2147483647 w 73"/>
                  <a:gd name="T65" fmla="*/ 2147483647 h 90"/>
                  <a:gd name="T66" fmla="*/ 2147483647 w 73"/>
                  <a:gd name="T67" fmla="*/ 2147483647 h 90"/>
                  <a:gd name="T68" fmla="*/ 2147483647 w 73"/>
                  <a:gd name="T69" fmla="*/ 2147483647 h 90"/>
                  <a:gd name="T70" fmla="*/ 2147483647 w 73"/>
                  <a:gd name="T71" fmla="*/ 2147483647 h 90"/>
                  <a:gd name="T72" fmla="*/ 2147483647 w 73"/>
                  <a:gd name="T73" fmla="*/ 2147483647 h 90"/>
                  <a:gd name="T74" fmla="*/ 2147483647 w 73"/>
                  <a:gd name="T75" fmla="*/ 2147483647 h 90"/>
                  <a:gd name="T76" fmla="*/ 2147483647 w 73"/>
                  <a:gd name="T77" fmla="*/ 2147483647 h 90"/>
                  <a:gd name="T78" fmla="*/ 2147483647 w 73"/>
                  <a:gd name="T79" fmla="*/ 2147483647 h 90"/>
                  <a:gd name="T80" fmla="*/ 2147483647 w 73"/>
                  <a:gd name="T81" fmla="*/ 2147483647 h 90"/>
                  <a:gd name="T82" fmla="*/ 2147483647 w 73"/>
                  <a:gd name="T83" fmla="*/ 2147483647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49" name="Freeform 48"/>
              <p:cNvSpPr>
                <a:spLocks noChangeAspect="1"/>
              </p:cNvSpPr>
              <p:nvPr/>
            </p:nvSpPr>
            <p:spPr bwMode="auto">
              <a:xfrm>
                <a:off x="4772025" y="4138613"/>
                <a:ext cx="42863" cy="31750"/>
              </a:xfrm>
              <a:custGeom>
                <a:avLst/>
                <a:gdLst>
                  <a:gd name="T0" fmla="*/ 2147483647 w 23"/>
                  <a:gd name="T1" fmla="*/ 2147483647 h 16"/>
                  <a:gd name="T2" fmla="*/ 2147483647 w 23"/>
                  <a:gd name="T3" fmla="*/ 2147483647 h 16"/>
                  <a:gd name="T4" fmla="*/ 2147483647 w 23"/>
                  <a:gd name="T5" fmla="*/ 0 h 16"/>
                  <a:gd name="T6" fmla="*/ 2147483647 w 23"/>
                  <a:gd name="T7" fmla="*/ 2147483647 h 16"/>
                  <a:gd name="T8" fmla="*/ 2147483647 w 23"/>
                  <a:gd name="T9" fmla="*/ 2147483647 h 16"/>
                  <a:gd name="T10" fmla="*/ 2147483647 w 23"/>
                  <a:gd name="T11" fmla="*/ 2147483647 h 16"/>
                  <a:gd name="T12" fmla="*/ 2147483647 w 23"/>
                  <a:gd name="T13" fmla="*/ 2147483647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50" name="Freeform 49"/>
              <p:cNvSpPr>
                <a:spLocks noChangeAspect="1"/>
              </p:cNvSpPr>
              <p:nvPr/>
            </p:nvSpPr>
            <p:spPr bwMode="auto">
              <a:xfrm>
                <a:off x="5183188" y="5003800"/>
                <a:ext cx="57150" cy="61913"/>
              </a:xfrm>
              <a:custGeom>
                <a:avLst/>
                <a:gdLst>
                  <a:gd name="T0" fmla="*/ 2147483647 w 30"/>
                  <a:gd name="T1" fmla="*/ 0 h 32"/>
                  <a:gd name="T2" fmla="*/ 2147483647 w 30"/>
                  <a:gd name="T3" fmla="*/ 2147483647 h 32"/>
                  <a:gd name="T4" fmla="*/ 2147483647 w 30"/>
                  <a:gd name="T5" fmla="*/ 2147483647 h 32"/>
                  <a:gd name="T6" fmla="*/ 2147483647 w 30"/>
                  <a:gd name="T7" fmla="*/ 2147483647 h 32"/>
                  <a:gd name="T8" fmla="*/ 2147483647 w 30"/>
                  <a:gd name="T9" fmla="*/ 2147483647 h 32"/>
                  <a:gd name="T10" fmla="*/ 2147483647 w 30"/>
                  <a:gd name="T11" fmla="*/ 2147483647 h 32"/>
                  <a:gd name="T12" fmla="*/ 2147483647 w 30"/>
                  <a:gd name="T13" fmla="*/ 2147483647 h 32"/>
                  <a:gd name="T14" fmla="*/ 2147483647 w 30"/>
                  <a:gd name="T15" fmla="*/ 2147483647 h 32"/>
                  <a:gd name="T16" fmla="*/ 2147483647 w 30"/>
                  <a:gd name="T17" fmla="*/ 2147483647 h 32"/>
                  <a:gd name="T18" fmla="*/ 2147483647 w 30"/>
                  <a:gd name="T19" fmla="*/ 2147483647 h 32"/>
                  <a:gd name="T20" fmla="*/ 2147483647 w 30"/>
                  <a:gd name="T21" fmla="*/ 2147483647 h 32"/>
                  <a:gd name="T22" fmla="*/ 2147483647 w 30"/>
                  <a:gd name="T23" fmla="*/ 2147483647 h 32"/>
                  <a:gd name="T24" fmla="*/ 2147483647 w 30"/>
                  <a:gd name="T25" fmla="*/ 2147483647 h 32"/>
                  <a:gd name="T26" fmla="*/ 2147483647 w 30"/>
                  <a:gd name="T27" fmla="*/ 2147483647 h 32"/>
                  <a:gd name="T28" fmla="*/ 2147483647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51" name="Freeform 50"/>
              <p:cNvSpPr>
                <a:spLocks noChangeAspect="1"/>
              </p:cNvSpPr>
              <p:nvPr/>
            </p:nvSpPr>
            <p:spPr bwMode="auto">
              <a:xfrm>
                <a:off x="5484813" y="4351338"/>
                <a:ext cx="11112" cy="23812"/>
              </a:xfrm>
              <a:custGeom>
                <a:avLst/>
                <a:gdLst>
                  <a:gd name="T0" fmla="*/ 2147483647 w 6"/>
                  <a:gd name="T1" fmla="*/ 2147483647 h 13"/>
                  <a:gd name="T2" fmla="*/ 2147483647 w 6"/>
                  <a:gd name="T3" fmla="*/ 2147483647 h 13"/>
                  <a:gd name="T4" fmla="*/ 2147483647 w 6"/>
                  <a:gd name="T5" fmla="*/ 2147483647 h 13"/>
                  <a:gd name="T6" fmla="*/ 2147483647 w 6"/>
                  <a:gd name="T7" fmla="*/ 2147483647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3">
                    <a:moveTo>
                      <a:pt x="2" y="1"/>
                    </a:moveTo>
                    <a:cubicBezTo>
                      <a:pt x="5" y="3"/>
                      <a:pt x="6" y="8"/>
                      <a:pt x="6" y="11"/>
                    </a:cubicBezTo>
                    <a:cubicBezTo>
                      <a:pt x="5" y="13"/>
                      <a:pt x="2" y="10"/>
                      <a:pt x="1" y="8"/>
                    </a:cubicBezTo>
                    <a:cubicBezTo>
                      <a:pt x="0" y="6"/>
                      <a:pt x="0" y="0"/>
                      <a:pt x="2" y="1"/>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52" name="Freeform 51"/>
              <p:cNvSpPr>
                <a:spLocks noChangeAspect="1"/>
              </p:cNvSpPr>
              <p:nvPr/>
            </p:nvSpPr>
            <p:spPr bwMode="auto">
              <a:xfrm>
                <a:off x="5070629" y="4425820"/>
                <a:ext cx="283846" cy="279571"/>
              </a:xfrm>
              <a:custGeom>
                <a:avLst/>
                <a:gdLst>
                  <a:gd name="T0" fmla="*/ 2147483647 w 149"/>
                  <a:gd name="T1" fmla="*/ 2147483647 h 147"/>
                  <a:gd name="T2" fmla="*/ 2147483647 w 149"/>
                  <a:gd name="T3" fmla="*/ 2147483647 h 147"/>
                  <a:gd name="T4" fmla="*/ 2147483647 w 149"/>
                  <a:gd name="T5" fmla="*/ 2147483647 h 147"/>
                  <a:gd name="T6" fmla="*/ 2147483647 w 149"/>
                  <a:gd name="T7" fmla="*/ 2147483647 h 147"/>
                  <a:gd name="T8" fmla="*/ 2147483647 w 149"/>
                  <a:gd name="T9" fmla="*/ 2147483647 h 147"/>
                  <a:gd name="T10" fmla="*/ 2147483647 w 149"/>
                  <a:gd name="T11" fmla="*/ 2147483647 h 147"/>
                  <a:gd name="T12" fmla="*/ 2147483647 w 149"/>
                  <a:gd name="T13" fmla="*/ 2147483647 h 147"/>
                  <a:gd name="T14" fmla="*/ 2147483647 w 149"/>
                  <a:gd name="T15" fmla="*/ 2147483647 h 147"/>
                  <a:gd name="T16" fmla="*/ 2147483647 w 149"/>
                  <a:gd name="T17" fmla="*/ 2147483647 h 147"/>
                  <a:gd name="T18" fmla="*/ 2147483647 w 149"/>
                  <a:gd name="T19" fmla="*/ 2147483647 h 147"/>
                  <a:gd name="T20" fmla="*/ 2147483647 w 149"/>
                  <a:gd name="T21" fmla="*/ 2147483647 h 147"/>
                  <a:gd name="T22" fmla="*/ 2147483647 w 149"/>
                  <a:gd name="T23" fmla="*/ 2147483647 h 147"/>
                  <a:gd name="T24" fmla="*/ 2147483647 w 149"/>
                  <a:gd name="T25" fmla="*/ 2147483647 h 147"/>
                  <a:gd name="T26" fmla="*/ 2147483647 w 149"/>
                  <a:gd name="T27" fmla="*/ 2147483647 h 147"/>
                  <a:gd name="T28" fmla="*/ 2147483647 w 149"/>
                  <a:gd name="T29" fmla="*/ 2147483647 h 147"/>
                  <a:gd name="T30" fmla="*/ 0 w 149"/>
                  <a:gd name="T31" fmla="*/ 2147483647 h 147"/>
                  <a:gd name="T32" fmla="*/ 2147483647 w 149"/>
                  <a:gd name="T33" fmla="*/ 2147483647 h 147"/>
                  <a:gd name="T34" fmla="*/ 2147483647 w 149"/>
                  <a:gd name="T35" fmla="*/ 2147483647 h 147"/>
                  <a:gd name="T36" fmla="*/ 2147483647 w 149"/>
                  <a:gd name="T37" fmla="*/ 2147483647 h 147"/>
                  <a:gd name="T38" fmla="*/ 2147483647 w 149"/>
                  <a:gd name="T39" fmla="*/ 2147483647 h 147"/>
                  <a:gd name="T40" fmla="*/ 2147483647 w 149"/>
                  <a:gd name="T41" fmla="*/ 2147483647 h 147"/>
                  <a:gd name="T42" fmla="*/ 2147483647 w 149"/>
                  <a:gd name="T43" fmla="*/ 2147483647 h 147"/>
                  <a:gd name="T44" fmla="*/ 2147483647 w 149"/>
                  <a:gd name="T45" fmla="*/ 2147483647 h 147"/>
                  <a:gd name="T46" fmla="*/ 2147483647 w 149"/>
                  <a:gd name="T47" fmla="*/ 2147483647 h 147"/>
                  <a:gd name="T48" fmla="*/ 2147483647 w 149"/>
                  <a:gd name="T49" fmla="*/ 2147483647 h 147"/>
                  <a:gd name="T50" fmla="*/ 2147483647 w 149"/>
                  <a:gd name="T51" fmla="*/ 2147483647 h 147"/>
                  <a:gd name="T52" fmla="*/ 2147483647 w 149"/>
                  <a:gd name="T53" fmla="*/ 2147483647 h 147"/>
                  <a:gd name="T54" fmla="*/ 2147483647 w 149"/>
                  <a:gd name="T55" fmla="*/ 2147483647 h 147"/>
                  <a:gd name="T56" fmla="*/ 2147483647 w 149"/>
                  <a:gd name="T57" fmla="*/ 2147483647 h 147"/>
                  <a:gd name="T58" fmla="*/ 2147483647 w 149"/>
                  <a:gd name="T59" fmla="*/ 2147483647 h 147"/>
                  <a:gd name="T60" fmla="*/ 2147483647 w 149"/>
                  <a:gd name="T61" fmla="*/ 2147483647 h 147"/>
                  <a:gd name="T62" fmla="*/ 2147483647 w 149"/>
                  <a:gd name="T63" fmla="*/ 2147483647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53" name="Freeform 52"/>
              <p:cNvSpPr>
                <a:spLocks noChangeAspect="1"/>
              </p:cNvSpPr>
              <p:nvPr/>
            </p:nvSpPr>
            <p:spPr bwMode="auto">
              <a:xfrm>
                <a:off x="5238750" y="4227513"/>
                <a:ext cx="49213" cy="47625"/>
              </a:xfrm>
              <a:custGeom>
                <a:avLst/>
                <a:gdLst>
                  <a:gd name="T0" fmla="*/ 2147483647 w 26"/>
                  <a:gd name="T1" fmla="*/ 2147483647 h 25"/>
                  <a:gd name="T2" fmla="*/ 0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0 h 25"/>
                  <a:gd name="T12" fmla="*/ 2147483647 w 26"/>
                  <a:gd name="T13" fmla="*/ 2147483647 h 25"/>
                  <a:gd name="T14" fmla="*/ 2147483647 w 26"/>
                  <a:gd name="T15" fmla="*/ 2147483647 h 25"/>
                  <a:gd name="T16" fmla="*/ 2147483647 w 26"/>
                  <a:gd name="T17" fmla="*/ 2147483647 h 25"/>
                  <a:gd name="T18" fmla="*/ 2147483647 w 26"/>
                  <a:gd name="T19" fmla="*/ 2147483647 h 25"/>
                  <a:gd name="T20" fmla="*/ 2147483647 w 26"/>
                  <a:gd name="T21" fmla="*/ 2147483647 h 25"/>
                  <a:gd name="T22" fmla="*/ 2147483647 w 26"/>
                  <a:gd name="T23" fmla="*/ 2147483647 h 25"/>
                  <a:gd name="T24" fmla="*/ 2147483647 w 26"/>
                  <a:gd name="T25" fmla="*/ 2147483647 h 25"/>
                  <a:gd name="T26" fmla="*/ 2147483647 w 26"/>
                  <a:gd name="T27" fmla="*/ 2147483647 h 25"/>
                  <a:gd name="T28" fmla="*/ 2147483647 w 26"/>
                  <a:gd name="T29" fmla="*/ 2147483647 h 25"/>
                  <a:gd name="T30" fmla="*/ 2147483647 w 26"/>
                  <a:gd name="T31" fmla="*/ 2147483647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54" name="Freeform 53"/>
              <p:cNvSpPr>
                <a:spLocks noChangeAspect="1"/>
              </p:cNvSpPr>
              <p:nvPr/>
            </p:nvSpPr>
            <p:spPr bwMode="auto">
              <a:xfrm>
                <a:off x="5351463" y="4049713"/>
                <a:ext cx="192087" cy="279400"/>
              </a:xfrm>
              <a:custGeom>
                <a:avLst/>
                <a:gdLst>
                  <a:gd name="T0" fmla="*/ 2147483647 w 101"/>
                  <a:gd name="T1" fmla="*/ 2147483647 h 147"/>
                  <a:gd name="T2" fmla="*/ 2147483647 w 101"/>
                  <a:gd name="T3" fmla="*/ 2147483647 h 147"/>
                  <a:gd name="T4" fmla="*/ 2147483647 w 101"/>
                  <a:gd name="T5" fmla="*/ 2147483647 h 147"/>
                  <a:gd name="T6" fmla="*/ 2147483647 w 101"/>
                  <a:gd name="T7" fmla="*/ 2147483647 h 147"/>
                  <a:gd name="T8" fmla="*/ 2147483647 w 101"/>
                  <a:gd name="T9" fmla="*/ 2147483647 h 147"/>
                  <a:gd name="T10" fmla="*/ 2147483647 w 101"/>
                  <a:gd name="T11" fmla="*/ 2147483647 h 147"/>
                  <a:gd name="T12" fmla="*/ 2147483647 w 101"/>
                  <a:gd name="T13" fmla="*/ 2147483647 h 147"/>
                  <a:gd name="T14" fmla="*/ 2147483647 w 101"/>
                  <a:gd name="T15" fmla="*/ 2147483647 h 147"/>
                  <a:gd name="T16" fmla="*/ 2147483647 w 101"/>
                  <a:gd name="T17" fmla="*/ 2147483647 h 147"/>
                  <a:gd name="T18" fmla="*/ 2147483647 w 101"/>
                  <a:gd name="T19" fmla="*/ 2147483647 h 147"/>
                  <a:gd name="T20" fmla="*/ 2147483647 w 101"/>
                  <a:gd name="T21" fmla="*/ 0 h 147"/>
                  <a:gd name="T22" fmla="*/ 2147483647 w 101"/>
                  <a:gd name="T23" fmla="*/ 2147483647 h 147"/>
                  <a:gd name="T24" fmla="*/ 2147483647 w 101"/>
                  <a:gd name="T25" fmla="*/ 2147483647 h 147"/>
                  <a:gd name="T26" fmla="*/ 2147483647 w 101"/>
                  <a:gd name="T27" fmla="*/ 2147483647 h 147"/>
                  <a:gd name="T28" fmla="*/ 2147483647 w 101"/>
                  <a:gd name="T29" fmla="*/ 2147483647 h 147"/>
                  <a:gd name="T30" fmla="*/ 2147483647 w 101"/>
                  <a:gd name="T31" fmla="*/ 2147483647 h 147"/>
                  <a:gd name="T32" fmla="*/ 2147483647 w 101"/>
                  <a:gd name="T33" fmla="*/ 2147483647 h 147"/>
                  <a:gd name="T34" fmla="*/ 2147483647 w 101"/>
                  <a:gd name="T35" fmla="*/ 2147483647 h 147"/>
                  <a:gd name="T36" fmla="*/ 2147483647 w 101"/>
                  <a:gd name="T37" fmla="*/ 2147483647 h 147"/>
                  <a:gd name="T38" fmla="*/ 0 w 101"/>
                  <a:gd name="T39" fmla="*/ 2147483647 h 147"/>
                  <a:gd name="T40" fmla="*/ 2147483647 w 101"/>
                  <a:gd name="T41" fmla="*/ 2147483647 h 147"/>
                  <a:gd name="T42" fmla="*/ 2147483647 w 101"/>
                  <a:gd name="T43" fmla="*/ 2147483647 h 147"/>
                  <a:gd name="T44" fmla="*/ 2147483647 w 101"/>
                  <a:gd name="T45" fmla="*/ 2147483647 h 147"/>
                  <a:gd name="T46" fmla="*/ 2147483647 w 101"/>
                  <a:gd name="T47" fmla="*/ 2147483647 h 147"/>
                  <a:gd name="T48" fmla="*/ 2147483647 w 101"/>
                  <a:gd name="T49" fmla="*/ 2147483647 h 147"/>
                  <a:gd name="T50" fmla="*/ 2147483647 w 101"/>
                  <a:gd name="T51" fmla="*/ 2147483647 h 147"/>
                  <a:gd name="T52" fmla="*/ 2147483647 w 101"/>
                  <a:gd name="T53" fmla="*/ 2147483647 h 147"/>
                  <a:gd name="T54" fmla="*/ 2147483647 w 101"/>
                  <a:gd name="T55" fmla="*/ 2147483647 h 147"/>
                  <a:gd name="T56" fmla="*/ 2147483647 w 101"/>
                  <a:gd name="T57" fmla="*/ 2147483647 h 147"/>
                  <a:gd name="T58" fmla="*/ 2147483647 w 101"/>
                  <a:gd name="T59" fmla="*/ 2147483647 h 147"/>
                  <a:gd name="T60" fmla="*/ 2147483647 w 101"/>
                  <a:gd name="T61" fmla="*/ 2147483647 h 147"/>
                  <a:gd name="T62" fmla="*/ 2147483647 w 101"/>
                  <a:gd name="T63" fmla="*/ 2147483647 h 147"/>
                  <a:gd name="T64" fmla="*/ 2147483647 w 101"/>
                  <a:gd name="T65" fmla="*/ 2147483647 h 147"/>
                  <a:gd name="T66" fmla="*/ 2147483647 w 101"/>
                  <a:gd name="T67" fmla="*/ 2147483647 h 147"/>
                  <a:gd name="T68" fmla="*/ 2147483647 w 101"/>
                  <a:gd name="T69" fmla="*/ 2147483647 h 147"/>
                  <a:gd name="T70" fmla="*/ 2147483647 w 101"/>
                  <a:gd name="T71" fmla="*/ 2147483647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chemeClr val="accent5">
                  <a:lumMod val="75000"/>
                </a:schemeClr>
              </a:solidFill>
              <a:ln w="3175" cap="rnd" cmpd="sng">
                <a:solidFill>
                  <a:srgbClr val="10394B"/>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55" name="Freeform 54"/>
              <p:cNvSpPr>
                <a:spLocks noChangeAspect="1"/>
              </p:cNvSpPr>
              <p:nvPr/>
            </p:nvSpPr>
            <p:spPr bwMode="auto">
              <a:xfrm>
                <a:off x="5253038" y="4081463"/>
                <a:ext cx="136525" cy="155575"/>
              </a:xfrm>
              <a:custGeom>
                <a:avLst/>
                <a:gdLst>
                  <a:gd name="T0" fmla="*/ 2147483647 w 71"/>
                  <a:gd name="T1" fmla="*/ 2147483647 h 81"/>
                  <a:gd name="T2" fmla="*/ 2147483647 w 71"/>
                  <a:gd name="T3" fmla="*/ 2147483647 h 81"/>
                  <a:gd name="T4" fmla="*/ 2147483647 w 71"/>
                  <a:gd name="T5" fmla="*/ 2147483647 h 81"/>
                  <a:gd name="T6" fmla="*/ 2147483647 w 71"/>
                  <a:gd name="T7" fmla="*/ 2147483647 h 81"/>
                  <a:gd name="T8" fmla="*/ 2147483647 w 71"/>
                  <a:gd name="T9" fmla="*/ 2147483647 h 81"/>
                  <a:gd name="T10" fmla="*/ 2147483647 w 71"/>
                  <a:gd name="T11" fmla="*/ 2147483647 h 81"/>
                  <a:gd name="T12" fmla="*/ 0 w 71"/>
                  <a:gd name="T13" fmla="*/ 2147483647 h 81"/>
                  <a:gd name="T14" fmla="*/ 2147483647 w 71"/>
                  <a:gd name="T15" fmla="*/ 2147483647 h 81"/>
                  <a:gd name="T16" fmla="*/ 2147483647 w 71"/>
                  <a:gd name="T17" fmla="*/ 2147483647 h 81"/>
                  <a:gd name="T18" fmla="*/ 2147483647 w 71"/>
                  <a:gd name="T19" fmla="*/ 2147483647 h 81"/>
                  <a:gd name="T20" fmla="*/ 2147483647 w 71"/>
                  <a:gd name="T21" fmla="*/ 2147483647 h 81"/>
                  <a:gd name="T22" fmla="*/ 2147483647 w 71"/>
                  <a:gd name="T23" fmla="*/ 2147483647 h 81"/>
                  <a:gd name="T24" fmla="*/ 2147483647 w 71"/>
                  <a:gd name="T25" fmla="*/ 2147483647 h 81"/>
                  <a:gd name="T26" fmla="*/ 2147483647 w 71"/>
                  <a:gd name="T27" fmla="*/ 2147483647 h 81"/>
                  <a:gd name="T28" fmla="*/ 2147483647 w 71"/>
                  <a:gd name="T29" fmla="*/ 2147483647 h 81"/>
                  <a:gd name="T30" fmla="*/ 2147483647 w 71"/>
                  <a:gd name="T31" fmla="*/ 2147483647 h 81"/>
                  <a:gd name="T32" fmla="*/ 2147483647 w 71"/>
                  <a:gd name="T33" fmla="*/ 2147483647 h 81"/>
                  <a:gd name="T34" fmla="*/ 2147483647 w 71"/>
                  <a:gd name="T35" fmla="*/ 2147483647 h 81"/>
                  <a:gd name="T36" fmla="*/ 2147483647 w 71"/>
                  <a:gd name="T37" fmla="*/ 2147483647 h 81"/>
                  <a:gd name="T38" fmla="*/ 2147483647 w 71"/>
                  <a:gd name="T39" fmla="*/ 2147483647 h 81"/>
                  <a:gd name="T40" fmla="*/ 2147483647 w 71"/>
                  <a:gd name="T41" fmla="*/ 2147483647 h 81"/>
                  <a:gd name="T42" fmla="*/ 2147483647 w 71"/>
                  <a:gd name="T43" fmla="*/ 2147483647 h 81"/>
                  <a:gd name="T44" fmla="*/ 2147483647 w 71"/>
                  <a:gd name="T45" fmla="*/ 2147483647 h 81"/>
                  <a:gd name="T46" fmla="*/ 2147483647 w 71"/>
                  <a:gd name="T47" fmla="*/ 2147483647 h 81"/>
                  <a:gd name="T48" fmla="*/ 2147483647 w 71"/>
                  <a:gd name="T49" fmla="*/ 2147483647 h 81"/>
                  <a:gd name="T50" fmla="*/ 2147483647 w 71"/>
                  <a:gd name="T51" fmla="*/ 2147483647 h 81"/>
                  <a:gd name="T52" fmla="*/ 2147483647 w 71"/>
                  <a:gd name="T53" fmla="*/ 2147483647 h 81"/>
                  <a:gd name="T54" fmla="*/ 2147483647 w 71"/>
                  <a:gd name="T55" fmla="*/ 2147483647 h 81"/>
                  <a:gd name="T56" fmla="*/ 2147483647 w 71"/>
                  <a:gd name="T57" fmla="*/ 0 h 81"/>
                  <a:gd name="T58" fmla="*/ 2147483647 w 71"/>
                  <a:gd name="T59" fmla="*/ 2147483647 h 81"/>
                  <a:gd name="T60" fmla="*/ 2147483647 w 71"/>
                  <a:gd name="T61" fmla="*/ 2147483647 h 81"/>
                  <a:gd name="T62" fmla="*/ 2147483647 w 71"/>
                  <a:gd name="T63" fmla="*/ 2147483647 h 81"/>
                  <a:gd name="T64" fmla="*/ 2147483647 w 71"/>
                  <a:gd name="T65" fmla="*/ 2147483647 h 81"/>
                  <a:gd name="T66" fmla="*/ 2147483647 w 71"/>
                  <a:gd name="T67" fmla="*/ 2147483647 h 81"/>
                  <a:gd name="T68" fmla="*/ 2147483647 w 71"/>
                  <a:gd name="T69" fmla="*/ 2147483647 h 81"/>
                  <a:gd name="T70" fmla="*/ 2147483647 w 71"/>
                  <a:gd name="T71" fmla="*/ 2147483647 h 81"/>
                  <a:gd name="T72" fmla="*/ 2147483647 w 71"/>
                  <a:gd name="T73" fmla="*/ 214748364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sp>
            <p:nvSpPr>
              <p:cNvPr id="56" name="Freeform 55"/>
              <p:cNvSpPr>
                <a:spLocks noChangeAspect="1"/>
              </p:cNvSpPr>
              <p:nvPr/>
            </p:nvSpPr>
            <p:spPr bwMode="auto">
              <a:xfrm>
                <a:off x="5253038" y="4219575"/>
                <a:ext cx="255587" cy="303213"/>
              </a:xfrm>
              <a:custGeom>
                <a:avLst/>
                <a:gdLst>
                  <a:gd name="T0" fmla="*/ 2147483647 w 134"/>
                  <a:gd name="T1" fmla="*/ 2147483647 h 159"/>
                  <a:gd name="T2" fmla="*/ 2147483647 w 134"/>
                  <a:gd name="T3" fmla="*/ 2147483647 h 159"/>
                  <a:gd name="T4" fmla="*/ 2147483647 w 134"/>
                  <a:gd name="T5" fmla="*/ 2147483647 h 159"/>
                  <a:gd name="T6" fmla="*/ 2147483647 w 134"/>
                  <a:gd name="T7" fmla="*/ 2147483647 h 159"/>
                  <a:gd name="T8" fmla="*/ 2147483647 w 134"/>
                  <a:gd name="T9" fmla="*/ 2147483647 h 159"/>
                  <a:gd name="T10" fmla="*/ 2147483647 w 134"/>
                  <a:gd name="T11" fmla="*/ 2147483647 h 159"/>
                  <a:gd name="T12" fmla="*/ 2147483647 w 134"/>
                  <a:gd name="T13" fmla="*/ 2147483647 h 159"/>
                  <a:gd name="T14" fmla="*/ 2147483647 w 134"/>
                  <a:gd name="T15" fmla="*/ 2147483647 h 159"/>
                  <a:gd name="T16" fmla="*/ 2147483647 w 134"/>
                  <a:gd name="T17" fmla="*/ 2147483647 h 159"/>
                  <a:gd name="T18" fmla="*/ 2147483647 w 134"/>
                  <a:gd name="T19" fmla="*/ 2147483647 h 159"/>
                  <a:gd name="T20" fmla="*/ 2147483647 w 134"/>
                  <a:gd name="T21" fmla="*/ 2147483647 h 159"/>
                  <a:gd name="T22" fmla="*/ 2147483647 w 134"/>
                  <a:gd name="T23" fmla="*/ 2147483647 h 159"/>
                  <a:gd name="T24" fmla="*/ 2147483647 w 134"/>
                  <a:gd name="T25" fmla="*/ 2147483647 h 159"/>
                  <a:gd name="T26" fmla="*/ 2147483647 w 134"/>
                  <a:gd name="T27" fmla="*/ 2147483647 h 159"/>
                  <a:gd name="T28" fmla="*/ 2147483647 w 134"/>
                  <a:gd name="T29" fmla="*/ 2147483647 h 159"/>
                  <a:gd name="T30" fmla="*/ 2147483647 w 134"/>
                  <a:gd name="T31" fmla="*/ 2147483647 h 159"/>
                  <a:gd name="T32" fmla="*/ 2147483647 w 134"/>
                  <a:gd name="T33" fmla="*/ 2147483647 h 159"/>
                  <a:gd name="T34" fmla="*/ 2147483647 w 134"/>
                  <a:gd name="T35" fmla="*/ 2147483647 h 159"/>
                  <a:gd name="T36" fmla="*/ 2147483647 w 134"/>
                  <a:gd name="T37" fmla="*/ 2147483647 h 159"/>
                  <a:gd name="T38" fmla="*/ 2147483647 w 134"/>
                  <a:gd name="T39" fmla="*/ 2147483647 h 159"/>
                  <a:gd name="T40" fmla="*/ 2147483647 w 134"/>
                  <a:gd name="T41" fmla="*/ 2147483647 h 159"/>
                  <a:gd name="T42" fmla="*/ 2147483647 w 134"/>
                  <a:gd name="T43" fmla="*/ 2147483647 h 159"/>
                  <a:gd name="T44" fmla="*/ 2147483647 w 134"/>
                  <a:gd name="T45" fmla="*/ 2147483647 h 159"/>
                  <a:gd name="T46" fmla="*/ 2147483647 w 134"/>
                  <a:gd name="T47" fmla="*/ 2147483647 h 159"/>
                  <a:gd name="T48" fmla="*/ 2147483647 w 134"/>
                  <a:gd name="T49" fmla="*/ 2147483647 h 159"/>
                  <a:gd name="T50" fmla="*/ 2147483647 w 134"/>
                  <a:gd name="T51" fmla="*/ 2147483647 h 159"/>
                  <a:gd name="T52" fmla="*/ 2147483647 w 134"/>
                  <a:gd name="T53" fmla="*/ 2147483647 h 159"/>
                  <a:gd name="T54" fmla="*/ 2147483647 w 134"/>
                  <a:gd name="T55" fmla="*/ 2147483647 h 159"/>
                  <a:gd name="T56" fmla="*/ 2147483647 w 134"/>
                  <a:gd name="T57" fmla="*/ 2147483647 h 159"/>
                  <a:gd name="T58" fmla="*/ 2147483647 w 134"/>
                  <a:gd name="T59" fmla="*/ 2147483647 h 159"/>
                  <a:gd name="T60" fmla="*/ 2147483647 w 134"/>
                  <a:gd name="T61" fmla="*/ 2147483647 h 159"/>
                  <a:gd name="T62" fmla="*/ 2147483647 w 134"/>
                  <a:gd name="T63" fmla="*/ 2147483647 h 159"/>
                  <a:gd name="T64" fmla="*/ 2147483647 w 134"/>
                  <a:gd name="T65" fmla="*/ 2147483647 h 159"/>
                  <a:gd name="T66" fmla="*/ 2147483647 w 134"/>
                  <a:gd name="T67" fmla="*/ 2147483647 h 159"/>
                  <a:gd name="T68" fmla="*/ 2147483647 w 134"/>
                  <a:gd name="T69" fmla="*/ 2147483647 h 159"/>
                  <a:gd name="T70" fmla="*/ 2147483647 w 134"/>
                  <a:gd name="T71" fmla="*/ 0 h 159"/>
                  <a:gd name="T72" fmla="*/ 2147483647 w 134"/>
                  <a:gd name="T73" fmla="*/ 2147483647 h 159"/>
                  <a:gd name="T74" fmla="*/ 2147483647 w 134"/>
                  <a:gd name="T75" fmla="*/ 2147483647 h 159"/>
                  <a:gd name="T76" fmla="*/ 2147483647 w 134"/>
                  <a:gd name="T77" fmla="*/ 2147483647 h 159"/>
                  <a:gd name="T78" fmla="*/ 2147483647 w 134"/>
                  <a:gd name="T79" fmla="*/ 2147483647 h 159"/>
                  <a:gd name="T80" fmla="*/ 2147483647 w 134"/>
                  <a:gd name="T81" fmla="*/ 2147483647 h 159"/>
                  <a:gd name="T82" fmla="*/ 2147483647 w 134"/>
                  <a:gd name="T83" fmla="*/ 2147483647 h 159"/>
                  <a:gd name="T84" fmla="*/ 2147483647 w 134"/>
                  <a:gd name="T85" fmla="*/ 2147483647 h 159"/>
                  <a:gd name="T86" fmla="*/ 2147483647 w 134"/>
                  <a:gd name="T87" fmla="*/ 2147483647 h 159"/>
                  <a:gd name="T88" fmla="*/ 2147483647 w 134"/>
                  <a:gd name="T89" fmla="*/ 2147483647 h 159"/>
                  <a:gd name="T90" fmla="*/ 2147483647 w 134"/>
                  <a:gd name="T91" fmla="*/ 2147483647 h 159"/>
                  <a:gd name="T92" fmla="*/ 2147483647 w 134"/>
                  <a:gd name="T93" fmla="*/ 2147483647 h 159"/>
                  <a:gd name="T94" fmla="*/ 2147483647 w 134"/>
                  <a:gd name="T95" fmla="*/ 2147483647 h 159"/>
                  <a:gd name="T96" fmla="*/ 2147483647 w 134"/>
                  <a:gd name="T97" fmla="*/ 2147483647 h 159"/>
                  <a:gd name="T98" fmla="*/ 0 w 134"/>
                  <a:gd name="T99" fmla="*/ 2147483647 h 159"/>
                  <a:gd name="T100" fmla="*/ 2147483647 w 134"/>
                  <a:gd name="T101" fmla="*/ 2147483647 h 159"/>
                  <a:gd name="T102" fmla="*/ 2147483647 w 134"/>
                  <a:gd name="T103" fmla="*/ 2147483647 h 159"/>
                  <a:gd name="T104" fmla="*/ 2147483647 w 134"/>
                  <a:gd name="T105" fmla="*/ 2147483647 h 159"/>
                  <a:gd name="T106" fmla="*/ 2147483647 w 134"/>
                  <a:gd name="T107" fmla="*/ 2147483647 h 159"/>
                  <a:gd name="T108" fmla="*/ 2147483647 w 134"/>
                  <a:gd name="T109" fmla="*/ 2147483647 h 159"/>
                  <a:gd name="T110" fmla="*/ 2147483647 w 134"/>
                  <a:gd name="T111" fmla="*/ 2147483647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grpFill/>
              <a:ln w="3175" cap="rnd" cmpd="sng">
                <a:solidFill>
                  <a:srgbClr val="F0EEED"/>
                </a:solidFill>
                <a:prstDash val="solid"/>
                <a:round/>
                <a:headEnd/>
                <a:tailEnd/>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A9D6"/>
                  </a:solidFill>
                  <a:effectLst/>
                  <a:uLnTx/>
                  <a:uFillTx/>
                  <a:latin typeface="Helvetica Light"/>
                  <a:ea typeface="+mn-ea"/>
                  <a:cs typeface="Helvetica Light"/>
                </a:endParaRPr>
              </a:p>
            </p:txBody>
          </p:sp>
        </p:grpSp>
        <p:sp>
          <p:nvSpPr>
            <p:cNvPr id="33" name="TextBox 32"/>
            <p:cNvSpPr txBox="1"/>
            <p:nvPr/>
          </p:nvSpPr>
          <p:spPr>
            <a:xfrm>
              <a:off x="3218123" y="2332548"/>
              <a:ext cx="720958" cy="34603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KENYA</a:t>
              </a:r>
            </a:p>
          </p:txBody>
        </p:sp>
        <p:sp>
          <p:nvSpPr>
            <p:cNvPr id="35" name="TextBox 34"/>
            <p:cNvSpPr txBox="1"/>
            <p:nvPr/>
          </p:nvSpPr>
          <p:spPr>
            <a:xfrm>
              <a:off x="1707875" y="5495412"/>
              <a:ext cx="932114" cy="56994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latin typeface="Arial Narrow" panose="020B0606020202030204"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rPr>
                <a:t>SOUTH AFRICA</a:t>
              </a:r>
            </a:p>
          </p:txBody>
        </p:sp>
        <p:sp>
          <p:nvSpPr>
            <p:cNvPr id="58" name="TextBox 57"/>
            <p:cNvSpPr txBox="1"/>
            <p:nvPr/>
          </p:nvSpPr>
          <p:spPr>
            <a:xfrm>
              <a:off x="2286985" y="4366022"/>
              <a:ext cx="1029161" cy="32568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ZIMBABWE</a:t>
              </a:r>
            </a:p>
          </p:txBody>
        </p:sp>
      </p:grpSp>
      <p:cxnSp>
        <p:nvCxnSpPr>
          <p:cNvPr id="14" name="Straight Connector 13"/>
          <p:cNvCxnSpPr/>
          <p:nvPr/>
        </p:nvCxnSpPr>
        <p:spPr>
          <a:xfrm>
            <a:off x="223212" y="2975336"/>
            <a:ext cx="1716474" cy="0"/>
          </a:xfrm>
          <a:prstGeom prst="line">
            <a:avLst/>
          </a:prstGeom>
        </p:spPr>
        <p:style>
          <a:lnRef idx="1">
            <a:schemeClr val="dk1"/>
          </a:lnRef>
          <a:fillRef idx="0">
            <a:schemeClr val="dk1"/>
          </a:fillRef>
          <a:effectRef idx="0">
            <a:schemeClr val="dk1"/>
          </a:effectRef>
          <a:fontRef idx="minor">
            <a:schemeClr val="tx1"/>
          </a:fontRef>
        </p:style>
      </p:cxnSp>
      <p:cxnSp>
        <p:nvCxnSpPr>
          <p:cNvPr id="73" name="Straight Connector 72"/>
          <p:cNvCxnSpPr/>
          <p:nvPr/>
        </p:nvCxnSpPr>
        <p:spPr>
          <a:xfrm>
            <a:off x="223212" y="4385036"/>
            <a:ext cx="1716474" cy="0"/>
          </a:xfrm>
          <a:prstGeom prst="line">
            <a:avLst/>
          </a:prstGeom>
        </p:spPr>
        <p:style>
          <a:lnRef idx="1">
            <a:schemeClr val="dk1"/>
          </a:lnRef>
          <a:fillRef idx="0">
            <a:schemeClr val="dk1"/>
          </a:fillRef>
          <a:effectRef idx="0">
            <a:schemeClr val="dk1"/>
          </a:effectRef>
          <a:fontRef idx="minor">
            <a:schemeClr val="tx1"/>
          </a:fontRef>
        </p:style>
      </p:cxnSp>
      <p:cxnSp>
        <p:nvCxnSpPr>
          <p:cNvPr id="74" name="Straight Connector 73"/>
          <p:cNvCxnSpPr/>
          <p:nvPr/>
        </p:nvCxnSpPr>
        <p:spPr>
          <a:xfrm>
            <a:off x="223212" y="5261336"/>
            <a:ext cx="1716474" cy="0"/>
          </a:xfrm>
          <a:prstGeom prst="line">
            <a:avLst/>
          </a:prstGeom>
        </p:spPr>
        <p:style>
          <a:lnRef idx="1">
            <a:schemeClr val="dk1"/>
          </a:lnRef>
          <a:fillRef idx="0">
            <a:schemeClr val="dk1"/>
          </a:fillRef>
          <a:effectRef idx="0">
            <a:schemeClr val="dk1"/>
          </a:effectRef>
          <a:fontRef idx="minor">
            <a:schemeClr val="tx1"/>
          </a:fontRef>
        </p:style>
      </p:cxnSp>
      <p:sp>
        <p:nvSpPr>
          <p:cNvPr id="60" name="Text Placeholder 2"/>
          <p:cNvSpPr txBox="1">
            <a:spLocks/>
          </p:cNvSpPr>
          <p:nvPr/>
        </p:nvSpPr>
        <p:spPr>
          <a:xfrm>
            <a:off x="2711670" y="469075"/>
            <a:ext cx="5791062" cy="1391564"/>
          </a:xfrm>
          <a:prstGeom prst="rect">
            <a:avLst/>
          </a:prstGeom>
        </p:spPr>
        <p:txBody>
          <a:bodyPr vert="horz" lIns="91440" tIns="45720" rIns="91440" bIns="45720" rtlCol="0" anchor="ctr">
            <a:noAutofit/>
          </a:bodyPr>
          <a:lstStyle>
            <a:lvl1pPr marL="230188" indent="-230188" algn="l" defTabSz="457200" rtl="0" eaLnBrk="1" latinLnBrk="0" hangingPunct="1">
              <a:spcBef>
                <a:spcPts val="0"/>
              </a:spcBef>
              <a:spcAft>
                <a:spcPts val="800"/>
              </a:spcAft>
              <a:buClr>
                <a:schemeClr val="accent6"/>
              </a:buClr>
              <a:buSzPct val="100000"/>
              <a:buFont typeface="Arial"/>
              <a:buChar char="•"/>
              <a:defRPr sz="2000" b="0" i="0" kern="1200" spc="0">
                <a:solidFill>
                  <a:schemeClr val="tx1"/>
                </a:solidFill>
                <a:latin typeface="+mn-lt"/>
                <a:ea typeface="+mn-ea"/>
                <a:cs typeface="Calibri"/>
              </a:defRPr>
            </a:lvl1pPr>
            <a:lvl2pPr marL="684213" indent="-230188" algn="l" defTabSz="457200" rtl="0" eaLnBrk="1" latinLnBrk="0" hangingPunct="1">
              <a:spcBef>
                <a:spcPts val="0"/>
              </a:spcBef>
              <a:spcAft>
                <a:spcPts val="800"/>
              </a:spcAft>
              <a:buFont typeface="Arial"/>
              <a:buChar char="–"/>
              <a:defRPr sz="1200" b="0" i="0" kern="1200">
                <a:solidFill>
                  <a:schemeClr val="tx1"/>
                </a:solidFill>
                <a:latin typeface="+mn-lt"/>
                <a:ea typeface="+mn-ea"/>
                <a:cs typeface="Calibri"/>
              </a:defRPr>
            </a:lvl2pPr>
            <a:lvl3pPr marL="1143000" indent="-228600" algn="l" defTabSz="457200" rtl="0" eaLnBrk="1" latinLnBrk="0" hangingPunct="1">
              <a:spcBef>
                <a:spcPct val="20000"/>
              </a:spcBef>
              <a:buSzPct val="83000"/>
              <a:buFont typeface="Courier New"/>
              <a:buChar char="o"/>
              <a:defRPr sz="1400" b="0" i="0" kern="1200">
                <a:solidFill>
                  <a:schemeClr val="tx1"/>
                </a:solidFill>
                <a:latin typeface="+mn-lt"/>
                <a:ea typeface="+mn-ea"/>
                <a:cs typeface="Calibri"/>
              </a:defRPr>
            </a:lvl3pPr>
            <a:lvl4pPr marL="1146175" indent="-231775" algn="l" defTabSz="457200" rtl="0" eaLnBrk="1" latinLnBrk="0" hangingPunct="1">
              <a:spcBef>
                <a:spcPct val="20000"/>
              </a:spcBef>
              <a:buFont typeface="Arial"/>
              <a:buChar char="–"/>
              <a:defRPr sz="1600" b="0" i="0" kern="1200">
                <a:solidFill>
                  <a:srgbClr val="535352"/>
                </a:solidFill>
                <a:latin typeface="Calibri"/>
                <a:ea typeface="+mn-ea"/>
                <a:cs typeface="Calibri"/>
              </a:defRPr>
            </a:lvl4pPr>
            <a:lvl5pPr marL="1255713" indent="-230188" algn="l" defTabSz="457200" rtl="0" eaLnBrk="1" latinLnBrk="0" hangingPunct="1">
              <a:spcBef>
                <a:spcPct val="20000"/>
              </a:spcBef>
              <a:buFont typeface="Arial"/>
              <a:buChar char="»"/>
              <a:defRPr sz="1400" b="0" i="0" kern="1200">
                <a:solidFill>
                  <a:srgbClr val="53535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buNone/>
              <a:defRPr/>
            </a:pPr>
            <a:r>
              <a:rPr lang="en-US" dirty="0">
                <a:latin typeface="Gill Sans MT" panose="020B0502020104020203" pitchFamily="34" charset="0"/>
              </a:rPr>
              <a:t>The OPTIONS Consortium objective is to develop a streamlined, </a:t>
            </a:r>
            <a:r>
              <a:rPr lang="en-US" kern="0" dirty="0">
                <a:solidFill>
                  <a:srgbClr val="178793"/>
                </a:solidFill>
                <a:latin typeface="Gill Sans MT" charset="0"/>
              </a:rPr>
              <a:t>adaptable product delivery platform </a:t>
            </a:r>
            <a:r>
              <a:rPr lang="en-US" dirty="0">
                <a:latin typeface="Gill Sans MT" panose="020B0502020104020203" pitchFamily="34" charset="0"/>
              </a:rPr>
              <a:t>for current and future microbicide and ARV-based HIV prevention options, </a:t>
            </a:r>
            <a:r>
              <a:rPr lang="en-US" kern="0" dirty="0">
                <a:solidFill>
                  <a:srgbClr val="178793"/>
                </a:solidFill>
                <a:latin typeface="Gill Sans MT" charset="0"/>
              </a:rPr>
              <a:t>with a particular focus on women. </a:t>
            </a:r>
          </a:p>
        </p:txBody>
      </p:sp>
      <p:pic>
        <p:nvPicPr>
          <p:cNvPr id="19" name="Picture 18"/>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303384" y="2587160"/>
            <a:ext cx="671077" cy="447831"/>
          </a:xfrm>
          <a:prstGeom prst="rect">
            <a:avLst/>
          </a:prstGeom>
        </p:spPr>
      </p:pic>
      <p:pic>
        <p:nvPicPr>
          <p:cNvPr id="24" name="Picture 2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303384" y="4859860"/>
            <a:ext cx="866225" cy="421432"/>
          </a:xfrm>
          <a:prstGeom prst="rect">
            <a:avLst/>
          </a:prstGeom>
        </p:spPr>
      </p:pic>
      <p:cxnSp>
        <p:nvCxnSpPr>
          <p:cNvPr id="5" name="Straight Connector 4"/>
          <p:cNvCxnSpPr>
            <a:cxnSpLocks/>
            <a:endCxn id="19" idx="1"/>
          </p:cNvCxnSpPr>
          <p:nvPr/>
        </p:nvCxnSpPr>
        <p:spPr>
          <a:xfrm>
            <a:off x="6401957" y="2780980"/>
            <a:ext cx="901427" cy="30096"/>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a:cxnSpLocks/>
            <a:endCxn id="4" idx="1"/>
          </p:cNvCxnSpPr>
          <p:nvPr/>
        </p:nvCxnSpPr>
        <p:spPr>
          <a:xfrm flipV="1">
            <a:off x="5738508" y="3947425"/>
            <a:ext cx="1564876" cy="407148"/>
          </a:xfrm>
          <a:prstGeom prst="line">
            <a:avLst/>
          </a:prstGeom>
        </p:spPr>
        <p:style>
          <a:lnRef idx="2">
            <a:schemeClr val="accent1"/>
          </a:lnRef>
          <a:fillRef idx="0">
            <a:schemeClr val="accent1"/>
          </a:fillRef>
          <a:effectRef idx="1">
            <a:schemeClr val="accent1"/>
          </a:effectRef>
          <a:fontRef idx="minor">
            <a:schemeClr val="tx1"/>
          </a:fontRef>
        </p:style>
      </p:cxnSp>
      <p:cxnSp>
        <p:nvCxnSpPr>
          <p:cNvPr id="25" name="Straight Connector 24"/>
          <p:cNvCxnSpPr>
            <a:cxnSpLocks/>
            <a:endCxn id="24" idx="1"/>
          </p:cNvCxnSpPr>
          <p:nvPr/>
        </p:nvCxnSpPr>
        <p:spPr>
          <a:xfrm flipV="1">
            <a:off x="5467654" y="5070576"/>
            <a:ext cx="1835730" cy="326946"/>
          </a:xfrm>
          <a:prstGeom prst="line">
            <a:avLst/>
          </a:prstGeom>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p:nvPicPr>
        <p:blipFill>
          <a:blip r:embed="rId5"/>
          <a:stretch>
            <a:fillRect/>
          </a:stretch>
        </p:blipFill>
        <p:spPr>
          <a:xfrm>
            <a:off x="7303384" y="3743947"/>
            <a:ext cx="766334" cy="406956"/>
          </a:xfrm>
          <a:prstGeom prst="rect">
            <a:avLst/>
          </a:prstGeom>
        </p:spPr>
      </p:pic>
      <p:sp>
        <p:nvSpPr>
          <p:cNvPr id="57" name="TextBox 56"/>
          <p:cNvSpPr txBox="1"/>
          <p:nvPr/>
        </p:nvSpPr>
        <p:spPr>
          <a:xfrm>
            <a:off x="537624" y="1068324"/>
            <a:ext cx="973343"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Leadership</a:t>
            </a:r>
          </a:p>
        </p:txBody>
      </p:sp>
      <p:sp>
        <p:nvSpPr>
          <p:cNvPr id="61" name="TextBox 60"/>
          <p:cNvSpPr txBox="1"/>
          <p:nvPr/>
        </p:nvSpPr>
        <p:spPr>
          <a:xfrm>
            <a:off x="624558" y="3026143"/>
            <a:ext cx="848309"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Modeling</a:t>
            </a:r>
          </a:p>
        </p:txBody>
      </p:sp>
      <p:sp>
        <p:nvSpPr>
          <p:cNvPr id="62" name="TextBox 61"/>
          <p:cNvSpPr txBox="1"/>
          <p:nvPr/>
        </p:nvSpPr>
        <p:spPr>
          <a:xfrm>
            <a:off x="407290" y="4439518"/>
            <a:ext cx="1348318"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Communication</a:t>
            </a:r>
          </a:p>
        </p:txBody>
      </p:sp>
      <p:sp>
        <p:nvSpPr>
          <p:cNvPr id="63" name="TextBox 62"/>
          <p:cNvSpPr txBox="1"/>
          <p:nvPr/>
        </p:nvSpPr>
        <p:spPr>
          <a:xfrm>
            <a:off x="692368" y="5280298"/>
            <a:ext cx="778162"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Strategy</a:t>
            </a:r>
          </a:p>
        </p:txBody>
      </p:sp>
      <p:pic>
        <p:nvPicPr>
          <p:cNvPr id="64" name="Picture 63"/>
          <p:cNvPicPr>
            <a:picLocks noChangeAspect="1"/>
          </p:cNvPicPr>
          <p:nvPr/>
        </p:nvPicPr>
        <p:blipFill>
          <a:blip r:embed="rId6"/>
          <a:stretch>
            <a:fillRect/>
          </a:stretch>
        </p:blipFill>
        <p:spPr>
          <a:xfrm>
            <a:off x="525035" y="1376101"/>
            <a:ext cx="964265" cy="429419"/>
          </a:xfrm>
          <a:prstGeom prst="rect">
            <a:avLst/>
          </a:prstGeom>
        </p:spPr>
      </p:pic>
      <p:pic>
        <p:nvPicPr>
          <p:cNvPr id="65" name="Picture 64"/>
          <p:cNvPicPr>
            <a:picLocks noChangeAspect="1"/>
          </p:cNvPicPr>
          <p:nvPr/>
        </p:nvPicPr>
        <p:blipFill rotWithShape="1">
          <a:blip r:embed="rId7"/>
          <a:srcRect l="14083" t="25105" r="13951" b="22172"/>
          <a:stretch/>
        </p:blipFill>
        <p:spPr>
          <a:xfrm>
            <a:off x="447380" y="1792474"/>
            <a:ext cx="1117914" cy="524299"/>
          </a:xfrm>
          <a:prstGeom prst="rect">
            <a:avLst/>
          </a:prstGeom>
        </p:spPr>
      </p:pic>
      <p:pic>
        <p:nvPicPr>
          <p:cNvPr id="66" name="Picture 65"/>
          <p:cNvPicPr>
            <a:picLocks noChangeAspect="1"/>
          </p:cNvPicPr>
          <p:nvPr/>
        </p:nvPicPr>
        <p:blipFill>
          <a:blip r:embed="rId8"/>
          <a:stretch>
            <a:fillRect/>
          </a:stretch>
        </p:blipFill>
        <p:spPr>
          <a:xfrm>
            <a:off x="550307" y="2405435"/>
            <a:ext cx="996810" cy="453414"/>
          </a:xfrm>
          <a:prstGeom prst="rect">
            <a:avLst/>
          </a:prstGeom>
        </p:spPr>
      </p:pic>
      <p:pic>
        <p:nvPicPr>
          <p:cNvPr id="67" name="Picture 66"/>
          <p:cNvPicPr>
            <a:picLocks noChangeAspect="1"/>
          </p:cNvPicPr>
          <p:nvPr/>
        </p:nvPicPr>
        <p:blipFill>
          <a:blip r:embed="rId9"/>
          <a:stretch>
            <a:fillRect/>
          </a:stretch>
        </p:blipFill>
        <p:spPr>
          <a:xfrm>
            <a:off x="543028" y="3342506"/>
            <a:ext cx="952919" cy="380784"/>
          </a:xfrm>
          <a:prstGeom prst="rect">
            <a:avLst/>
          </a:prstGeom>
        </p:spPr>
      </p:pic>
      <p:pic>
        <p:nvPicPr>
          <p:cNvPr id="68" name="Picture 67"/>
          <p:cNvPicPr>
            <a:picLocks noChangeAspect="1"/>
          </p:cNvPicPr>
          <p:nvPr/>
        </p:nvPicPr>
        <p:blipFill>
          <a:blip r:embed="rId10"/>
          <a:stretch>
            <a:fillRect/>
          </a:stretch>
        </p:blipFill>
        <p:spPr>
          <a:xfrm>
            <a:off x="560385" y="3823994"/>
            <a:ext cx="945963" cy="496786"/>
          </a:xfrm>
          <a:prstGeom prst="rect">
            <a:avLst/>
          </a:prstGeom>
        </p:spPr>
      </p:pic>
      <p:pic>
        <p:nvPicPr>
          <p:cNvPr id="69" name="Picture 68"/>
          <p:cNvPicPr>
            <a:picLocks noChangeAspect="1"/>
          </p:cNvPicPr>
          <p:nvPr/>
        </p:nvPicPr>
        <p:blipFill rotWithShape="1">
          <a:blip r:embed="rId11"/>
          <a:srcRect t="30789" b="30446"/>
          <a:stretch/>
        </p:blipFill>
        <p:spPr>
          <a:xfrm>
            <a:off x="411972" y="4772645"/>
            <a:ext cx="1273480" cy="381475"/>
          </a:xfrm>
          <a:prstGeom prst="rect">
            <a:avLst/>
          </a:prstGeom>
        </p:spPr>
      </p:pic>
      <p:pic>
        <p:nvPicPr>
          <p:cNvPr id="75" name="Picture 74"/>
          <p:cNvPicPr>
            <a:picLocks noChangeAspect="1"/>
          </p:cNvPicPr>
          <p:nvPr/>
        </p:nvPicPr>
        <p:blipFill>
          <a:blip r:embed="rId12"/>
          <a:stretch>
            <a:fillRect/>
          </a:stretch>
        </p:blipFill>
        <p:spPr>
          <a:xfrm>
            <a:off x="311623" y="5578092"/>
            <a:ext cx="1443485" cy="383026"/>
          </a:xfrm>
          <a:prstGeom prst="rect">
            <a:avLst/>
          </a:prstGeom>
        </p:spPr>
      </p:pic>
      <p:pic>
        <p:nvPicPr>
          <p:cNvPr id="6" name="Picture 5"/>
          <p:cNvPicPr>
            <a:picLocks noChangeAspect="1"/>
          </p:cNvPicPr>
          <p:nvPr/>
        </p:nvPicPr>
        <p:blipFill>
          <a:blip r:embed="rId13"/>
          <a:stretch>
            <a:fillRect/>
          </a:stretch>
        </p:blipFill>
        <p:spPr>
          <a:xfrm>
            <a:off x="133986" y="198674"/>
            <a:ext cx="2194270" cy="791560"/>
          </a:xfrm>
          <a:prstGeom prst="rect">
            <a:avLst/>
          </a:prstGeom>
        </p:spPr>
      </p:pic>
    </p:spTree>
    <p:extLst>
      <p:ext uri="{BB962C8B-B14F-4D97-AF65-F5344CB8AC3E}">
        <p14:creationId xmlns:p14="http://schemas.microsoft.com/office/powerpoint/2010/main" val="1756653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57200" y="2547938"/>
            <a:ext cx="8229600" cy="739775"/>
          </a:xfrm>
          <a:prstGeom prst="rect">
            <a:avLst/>
          </a:prstGeom>
        </p:spPr>
        <p:txBody>
          <a:bodyPr/>
          <a:lstStyle/>
          <a:p>
            <a:pPr algn="ctr"/>
            <a:r>
              <a:rPr lang="en-US" sz="4400" b="1" dirty="0">
                <a:solidFill>
                  <a:schemeClr val="tx1"/>
                </a:solidFill>
              </a:rPr>
              <a:t>Pre-Exposure Prophylaxis</a:t>
            </a:r>
          </a:p>
        </p:txBody>
      </p:sp>
    </p:spTree>
    <p:extLst>
      <p:ext uri="{BB962C8B-B14F-4D97-AF65-F5344CB8AC3E}">
        <p14:creationId xmlns:p14="http://schemas.microsoft.com/office/powerpoint/2010/main" val="3049993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6C209-7608-A544-AFDC-159240BD96EC}"/>
              </a:ext>
            </a:extLst>
          </p:cNvPr>
          <p:cNvSpPr>
            <a:spLocks noGrp="1"/>
          </p:cNvSpPr>
          <p:nvPr>
            <p:ph type="title"/>
          </p:nvPr>
        </p:nvSpPr>
        <p:spPr/>
        <p:txBody>
          <a:bodyPr/>
          <a:lstStyle/>
          <a:p>
            <a:r>
              <a:rPr lang="en-US" dirty="0" err="1"/>
              <a:t>PrEP</a:t>
            </a:r>
            <a:endParaRPr lang="en-US" dirty="0"/>
          </a:p>
        </p:txBody>
      </p:sp>
      <p:sp>
        <p:nvSpPr>
          <p:cNvPr id="3" name="Text Placeholder 2">
            <a:extLst>
              <a:ext uri="{FF2B5EF4-FFF2-40B4-BE49-F238E27FC236}">
                <a16:creationId xmlns:a16="http://schemas.microsoft.com/office/drawing/2014/main" id="{5E3941A8-9996-5D48-A491-4EB0570E1FF0}"/>
              </a:ext>
            </a:extLst>
          </p:cNvPr>
          <p:cNvSpPr>
            <a:spLocks noGrp="1"/>
          </p:cNvSpPr>
          <p:nvPr>
            <p:ph type="body" sz="quarter" idx="10"/>
          </p:nvPr>
        </p:nvSpPr>
        <p:spPr/>
        <p:txBody>
          <a:bodyPr>
            <a:normAutofit/>
          </a:bodyPr>
          <a:lstStyle/>
          <a:p>
            <a:r>
              <a:rPr lang="en-US" sz="2800" dirty="0"/>
              <a:t>(Temporary) vaccination (with adherence)</a:t>
            </a:r>
          </a:p>
          <a:p>
            <a:pPr lvl="1"/>
            <a:r>
              <a:rPr lang="en-US" sz="2400" dirty="0"/>
              <a:t>Expensive</a:t>
            </a:r>
          </a:p>
          <a:p>
            <a:pPr lvl="1"/>
            <a:r>
              <a:rPr lang="en-US" sz="2400" dirty="0"/>
              <a:t>Recruitment vs. adherence</a:t>
            </a:r>
          </a:p>
          <a:p>
            <a:r>
              <a:rPr lang="en-US" sz="2800" dirty="0"/>
              <a:t>Two immediate health benefits</a:t>
            </a:r>
          </a:p>
          <a:p>
            <a:pPr lvl="1"/>
            <a:r>
              <a:rPr lang="en-US" sz="2400" dirty="0"/>
              <a:t>Direct protection: prevent transmission</a:t>
            </a:r>
          </a:p>
          <a:p>
            <a:pPr lvl="1"/>
            <a:r>
              <a:rPr lang="en-US" sz="2400" dirty="0"/>
              <a:t>Indirect protection: prevent/break transmission chains</a:t>
            </a:r>
          </a:p>
          <a:p>
            <a:r>
              <a:rPr lang="en-US" sz="2800" dirty="0"/>
              <a:t>Additional benefits related to health care pathways</a:t>
            </a:r>
            <a:endParaRPr lang="en-US" dirty="0"/>
          </a:p>
        </p:txBody>
      </p:sp>
    </p:spTree>
    <p:extLst>
      <p:ext uri="{BB962C8B-B14F-4D97-AF65-F5344CB8AC3E}">
        <p14:creationId xmlns:p14="http://schemas.microsoft.com/office/powerpoint/2010/main" val="3251535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28D16-2D54-9B4E-9443-A083230E5C17}"/>
              </a:ext>
            </a:extLst>
          </p:cNvPr>
          <p:cNvSpPr>
            <a:spLocks noGrp="1"/>
          </p:cNvSpPr>
          <p:nvPr>
            <p:ph type="title"/>
          </p:nvPr>
        </p:nvSpPr>
        <p:spPr/>
        <p:txBody>
          <a:bodyPr/>
          <a:lstStyle/>
          <a:p>
            <a:r>
              <a:rPr lang="en-US" dirty="0"/>
              <a:t>Direct protection: cost-effectiveness</a:t>
            </a:r>
          </a:p>
        </p:txBody>
      </p:sp>
      <p:sp>
        <p:nvSpPr>
          <p:cNvPr id="3" name="Text Placeholder 2">
            <a:extLst>
              <a:ext uri="{FF2B5EF4-FFF2-40B4-BE49-F238E27FC236}">
                <a16:creationId xmlns:a16="http://schemas.microsoft.com/office/drawing/2014/main" id="{C5EEE73E-2704-2942-84FB-5F3176A8999C}"/>
              </a:ext>
            </a:extLst>
          </p:cNvPr>
          <p:cNvSpPr>
            <a:spLocks noGrp="1"/>
          </p:cNvSpPr>
          <p:nvPr>
            <p:ph type="body" sz="quarter" idx="10"/>
          </p:nvPr>
        </p:nvSpPr>
        <p:spPr>
          <a:xfrm>
            <a:off x="457200" y="1584325"/>
            <a:ext cx="8229600" cy="4492010"/>
          </a:xfrm>
        </p:spPr>
        <p:txBody>
          <a:bodyPr>
            <a:normAutofit/>
          </a:bodyPr>
          <a:lstStyle/>
          <a:p>
            <a:r>
              <a:rPr lang="en-US" sz="2800" dirty="0"/>
              <a:t>Depends on the cost of delivery vs. number of infections prevented</a:t>
            </a:r>
          </a:p>
          <a:p>
            <a:pPr lvl="1"/>
            <a:r>
              <a:rPr lang="en-US" sz="2400" dirty="0"/>
              <a:t>Person-Years of </a:t>
            </a:r>
            <a:r>
              <a:rPr lang="en-US" sz="2400" dirty="0" err="1"/>
              <a:t>PrEP</a:t>
            </a:r>
            <a:r>
              <a:rPr lang="en-US" sz="2400" dirty="0"/>
              <a:t> needed to prevent one infection</a:t>
            </a:r>
          </a:p>
          <a:p>
            <a:pPr lvl="1"/>
            <a:r>
              <a:rPr lang="en-US" sz="2400" dirty="0"/>
              <a:t>Infections prevented &lt; Transmissions blocked</a:t>
            </a:r>
          </a:p>
          <a:p>
            <a:pPr lvl="2"/>
            <a:r>
              <a:rPr lang="en-US" sz="2000" dirty="0" err="1"/>
              <a:t>PrEP</a:t>
            </a:r>
            <a:r>
              <a:rPr lang="en-US" sz="2000" dirty="0"/>
              <a:t> depends on adherence, therefore temporary</a:t>
            </a:r>
          </a:p>
          <a:p>
            <a:r>
              <a:rPr lang="en-US" sz="2800" dirty="0"/>
              <a:t>Determined by accuracy of targeting to high risk</a:t>
            </a:r>
          </a:p>
          <a:p>
            <a:pPr lvl="1"/>
            <a:r>
              <a:rPr lang="en-US" sz="2400" dirty="0"/>
              <a:t>Known risk: Discordant couples</a:t>
            </a:r>
          </a:p>
          <a:p>
            <a:pPr lvl="1"/>
            <a:r>
              <a:rPr lang="en-US" sz="2400" dirty="0"/>
              <a:t>Imputed risk: FSW &amp; “high risk AGYW”</a:t>
            </a:r>
          </a:p>
          <a:p>
            <a:pPr lvl="1"/>
            <a:endParaRPr lang="en-US" dirty="0"/>
          </a:p>
        </p:txBody>
      </p:sp>
    </p:spTree>
    <p:extLst>
      <p:ext uri="{BB962C8B-B14F-4D97-AF65-F5344CB8AC3E}">
        <p14:creationId xmlns:p14="http://schemas.microsoft.com/office/powerpoint/2010/main" val="1233382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771D1-FDC6-CE4D-B2CD-390EF8212559}"/>
              </a:ext>
            </a:extLst>
          </p:cNvPr>
          <p:cNvSpPr>
            <a:spLocks noGrp="1"/>
          </p:cNvSpPr>
          <p:nvPr>
            <p:ph type="title"/>
          </p:nvPr>
        </p:nvSpPr>
        <p:spPr>
          <a:xfrm>
            <a:off x="457200" y="445196"/>
            <a:ext cx="8229600" cy="972441"/>
          </a:xfrm>
        </p:spPr>
        <p:txBody>
          <a:bodyPr/>
          <a:lstStyle/>
          <a:p>
            <a:r>
              <a:rPr lang="en-US" dirty="0"/>
              <a:t>Indirect protection</a:t>
            </a:r>
          </a:p>
        </p:txBody>
      </p:sp>
      <p:sp>
        <p:nvSpPr>
          <p:cNvPr id="3" name="Text Placeholder 2">
            <a:extLst>
              <a:ext uri="{FF2B5EF4-FFF2-40B4-BE49-F238E27FC236}">
                <a16:creationId xmlns:a16="http://schemas.microsoft.com/office/drawing/2014/main" id="{74991430-4D0F-D749-BBAA-67E941ADD6F9}"/>
              </a:ext>
            </a:extLst>
          </p:cNvPr>
          <p:cNvSpPr>
            <a:spLocks noGrp="1"/>
          </p:cNvSpPr>
          <p:nvPr>
            <p:ph type="body" sz="quarter" idx="10"/>
          </p:nvPr>
        </p:nvSpPr>
        <p:spPr>
          <a:xfrm>
            <a:off x="457200" y="1584325"/>
            <a:ext cx="8229600" cy="4492010"/>
          </a:xfrm>
        </p:spPr>
        <p:txBody>
          <a:bodyPr/>
          <a:lstStyle/>
          <a:p>
            <a:r>
              <a:rPr lang="en-US" sz="2800" dirty="0"/>
              <a:t>In a sense, compensates for inaccurate allocation</a:t>
            </a:r>
          </a:p>
          <a:p>
            <a:r>
              <a:rPr lang="en-US" sz="2800" dirty="0"/>
              <a:t>Includes the benefit of the added time free of HIV that </a:t>
            </a:r>
            <a:r>
              <a:rPr lang="en-US" sz="2800" dirty="0" err="1"/>
              <a:t>PrEP</a:t>
            </a:r>
            <a:r>
              <a:rPr lang="en-US" sz="2800" dirty="0"/>
              <a:t> buys</a:t>
            </a:r>
          </a:p>
          <a:p>
            <a:pPr lvl="1"/>
            <a:r>
              <a:rPr lang="en-US" sz="2400" dirty="0" err="1"/>
              <a:t>PrEP</a:t>
            </a:r>
            <a:r>
              <a:rPr lang="en-US" sz="2400" dirty="0"/>
              <a:t> delays infection</a:t>
            </a:r>
          </a:p>
          <a:p>
            <a:r>
              <a:rPr lang="en-US" sz="2800" dirty="0"/>
              <a:t>Much more difficult to measure/predict</a:t>
            </a:r>
          </a:p>
          <a:p>
            <a:pPr lvl="1"/>
            <a:r>
              <a:rPr lang="en-US" sz="2400" dirty="0"/>
              <a:t>Needs full transmission dynamic model</a:t>
            </a:r>
            <a:endParaRPr lang="en-US" dirty="0"/>
          </a:p>
        </p:txBody>
      </p:sp>
    </p:spTree>
    <p:extLst>
      <p:ext uri="{BB962C8B-B14F-4D97-AF65-F5344CB8AC3E}">
        <p14:creationId xmlns:p14="http://schemas.microsoft.com/office/powerpoint/2010/main" val="2231643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72618"/>
            <a:ext cx="8229600" cy="804989"/>
          </a:xfrm>
        </p:spPr>
        <p:txBody>
          <a:bodyPr/>
          <a:lstStyle/>
          <a:p>
            <a:r>
              <a:rPr lang="en-US" dirty="0"/>
              <a:t>Questions</a:t>
            </a:r>
          </a:p>
        </p:txBody>
      </p:sp>
      <p:sp>
        <p:nvSpPr>
          <p:cNvPr id="3" name="Text Placeholder 2"/>
          <p:cNvSpPr>
            <a:spLocks noGrp="1"/>
          </p:cNvSpPr>
          <p:nvPr>
            <p:ph type="body" sz="quarter" idx="10"/>
          </p:nvPr>
        </p:nvSpPr>
        <p:spPr>
          <a:xfrm>
            <a:off x="457200" y="1443648"/>
            <a:ext cx="8229600" cy="4682831"/>
          </a:xfrm>
        </p:spPr>
        <p:txBody>
          <a:bodyPr>
            <a:normAutofit/>
          </a:bodyPr>
          <a:lstStyle/>
          <a:p>
            <a:r>
              <a:rPr lang="en-US" sz="2800" dirty="0">
                <a:solidFill>
                  <a:schemeClr val="tx1"/>
                </a:solidFill>
              </a:rPr>
              <a:t>Can oral </a:t>
            </a:r>
            <a:r>
              <a:rPr lang="en-US" sz="2800" dirty="0" err="1">
                <a:solidFill>
                  <a:schemeClr val="tx1"/>
                </a:solidFill>
              </a:rPr>
              <a:t>PrEP</a:t>
            </a:r>
            <a:r>
              <a:rPr lang="en-US" sz="2800" dirty="0">
                <a:solidFill>
                  <a:schemeClr val="tx1"/>
                </a:solidFill>
              </a:rPr>
              <a:t> be used by some proportion of young women in specific epidemic settings that result in epidemic impact for a reasonable cost?</a:t>
            </a:r>
          </a:p>
          <a:p>
            <a:pPr lvl="1"/>
            <a:r>
              <a:rPr lang="en-US" sz="2400" dirty="0">
                <a:solidFill>
                  <a:schemeClr val="tx1"/>
                </a:solidFill>
              </a:rPr>
              <a:t>Population perspective</a:t>
            </a:r>
          </a:p>
          <a:p>
            <a:r>
              <a:rPr lang="en-US" sz="2800" dirty="0">
                <a:solidFill>
                  <a:schemeClr val="tx1"/>
                </a:solidFill>
              </a:rPr>
              <a:t>If so:</a:t>
            </a:r>
          </a:p>
          <a:p>
            <a:pPr lvl="1"/>
            <a:r>
              <a:rPr lang="en-US" sz="2400" dirty="0">
                <a:solidFill>
                  <a:schemeClr val="tx1"/>
                </a:solidFill>
              </a:rPr>
              <a:t>What is the epidemic setting? </a:t>
            </a:r>
          </a:p>
          <a:p>
            <a:pPr lvl="2"/>
            <a:r>
              <a:rPr lang="en-US" sz="2000" dirty="0">
                <a:solidFill>
                  <a:schemeClr val="tx1"/>
                </a:solidFill>
              </a:rPr>
              <a:t>Background HIV incidence</a:t>
            </a:r>
          </a:p>
          <a:p>
            <a:pPr lvl="2"/>
            <a:r>
              <a:rPr lang="en-US" sz="2000" dirty="0">
                <a:solidFill>
                  <a:schemeClr val="tx1"/>
                </a:solidFill>
              </a:rPr>
              <a:t>Sexual network structure</a:t>
            </a:r>
          </a:p>
          <a:p>
            <a:pPr lvl="1"/>
            <a:r>
              <a:rPr lang="en-US" sz="2400" dirty="0">
                <a:solidFill>
                  <a:schemeClr val="tx1"/>
                </a:solidFill>
              </a:rPr>
              <a:t>How does scale-up of ART, VMMC, and other HIV prevention interventions affect the impact and cost-effectiveness of oral PrEP in different settings?</a:t>
            </a:r>
          </a:p>
        </p:txBody>
      </p:sp>
    </p:spTree>
    <p:extLst>
      <p:ext uri="{BB962C8B-B14F-4D97-AF65-F5344CB8AC3E}">
        <p14:creationId xmlns:p14="http://schemas.microsoft.com/office/powerpoint/2010/main" val="1298131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D0F8F-0CD5-E246-97EB-D3EE88F26E98}"/>
              </a:ext>
            </a:extLst>
          </p:cNvPr>
          <p:cNvSpPr>
            <a:spLocks noGrp="1"/>
          </p:cNvSpPr>
          <p:nvPr>
            <p:ph type="title"/>
          </p:nvPr>
        </p:nvSpPr>
        <p:spPr>
          <a:xfrm>
            <a:off x="457200" y="445196"/>
            <a:ext cx="8229600" cy="972441"/>
          </a:xfrm>
        </p:spPr>
        <p:txBody>
          <a:bodyPr/>
          <a:lstStyle/>
          <a:p>
            <a:r>
              <a:rPr lang="en-US" dirty="0"/>
              <a:t>Choice of EMOD-HIV</a:t>
            </a:r>
          </a:p>
        </p:txBody>
      </p:sp>
      <p:sp>
        <p:nvSpPr>
          <p:cNvPr id="3" name="Text Placeholder 2">
            <a:extLst>
              <a:ext uri="{FF2B5EF4-FFF2-40B4-BE49-F238E27FC236}">
                <a16:creationId xmlns:a16="http://schemas.microsoft.com/office/drawing/2014/main" id="{F9E29F22-D052-3F4B-9682-BDF08ADD95C1}"/>
              </a:ext>
            </a:extLst>
          </p:cNvPr>
          <p:cNvSpPr>
            <a:spLocks noGrp="1"/>
          </p:cNvSpPr>
          <p:nvPr>
            <p:ph type="body" sz="quarter" idx="10"/>
          </p:nvPr>
        </p:nvSpPr>
        <p:spPr/>
        <p:txBody>
          <a:bodyPr/>
          <a:lstStyle/>
          <a:p>
            <a:r>
              <a:rPr lang="en-US" sz="2800" dirty="0">
                <a:solidFill>
                  <a:schemeClr val="tx1"/>
                </a:solidFill>
              </a:rPr>
              <a:t>Comprehensive framework</a:t>
            </a:r>
          </a:p>
          <a:p>
            <a:pPr lvl="1"/>
            <a:r>
              <a:rPr lang="en-US" sz="2400" dirty="0">
                <a:solidFill>
                  <a:schemeClr val="tx1"/>
                </a:solidFill>
              </a:rPr>
              <a:t>Saves coding etc.</a:t>
            </a:r>
          </a:p>
          <a:p>
            <a:r>
              <a:rPr lang="en-US" sz="2800" dirty="0">
                <a:solidFill>
                  <a:schemeClr val="tx1"/>
                </a:solidFill>
              </a:rPr>
              <a:t>Extensive calibration tools</a:t>
            </a:r>
          </a:p>
          <a:p>
            <a:r>
              <a:rPr lang="en-US" sz="2800" dirty="0">
                <a:solidFill>
                  <a:schemeClr val="tx1"/>
                </a:solidFill>
              </a:rPr>
              <a:t>Access to Dan, Anna and a team of software developers (Benoit, Dan B.)</a:t>
            </a:r>
          </a:p>
          <a:p>
            <a:endParaRPr lang="en-US" dirty="0">
              <a:solidFill>
                <a:schemeClr val="tx1"/>
              </a:solidFill>
            </a:endParaRPr>
          </a:p>
          <a:p>
            <a:r>
              <a:rPr lang="en-US" sz="2800" dirty="0">
                <a:solidFill>
                  <a:schemeClr val="tx1"/>
                </a:solidFill>
              </a:rPr>
              <a:t>Hopefully a useful collaboration…</a:t>
            </a:r>
          </a:p>
          <a:p>
            <a:endParaRPr lang="en-US" dirty="0"/>
          </a:p>
        </p:txBody>
      </p:sp>
    </p:spTree>
    <p:extLst>
      <p:ext uri="{BB962C8B-B14F-4D97-AF65-F5344CB8AC3E}">
        <p14:creationId xmlns:p14="http://schemas.microsoft.com/office/powerpoint/2010/main" val="3834566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yomhuLIDkytdbvGUFOh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d44HZsaSUaYoHX1KZuA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Xu0Z4LGTUaWepCdxfL5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J5cgk1PU0G1Zc3TM5kM8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FHI 360 Theme">
  <a:themeElements>
    <a:clrScheme name="FHI 360 Orange Palette">
      <a:dk1>
        <a:srgbClr val="000000"/>
      </a:dk1>
      <a:lt1>
        <a:srgbClr val="FFFFFF"/>
      </a:lt1>
      <a:dk2>
        <a:srgbClr val="000000"/>
      </a:dk2>
      <a:lt2>
        <a:srgbClr val="FFFFFF"/>
      </a:lt2>
      <a:accent1>
        <a:srgbClr val="F37421"/>
      </a:accent1>
      <a:accent2>
        <a:srgbClr val="ADAFA7"/>
      </a:accent2>
      <a:accent3>
        <a:srgbClr val="5C707C"/>
      </a:accent3>
      <a:accent4>
        <a:srgbClr val="3B352F"/>
      </a:accent4>
      <a:accent5>
        <a:srgbClr val="D2CCB8"/>
      </a:accent5>
      <a:accent6>
        <a:srgbClr val="717074"/>
      </a:accent6>
      <a:hlink>
        <a:srgbClr val="C2D1D3"/>
      </a:hlink>
      <a:folHlink>
        <a:srgbClr val="F8981D"/>
      </a:folHlink>
    </a:clrScheme>
    <a:fontScheme name="FHI 360 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54E796100790B46BFD2290577CAC8F3" ma:contentTypeVersion="5" ma:contentTypeDescription="Create a new document." ma:contentTypeScope="" ma:versionID="e41d19abd400cfe2ac028366c899ce65">
  <xsd:schema xmlns:xsd="http://www.w3.org/2001/XMLSchema" xmlns:xs="http://www.w3.org/2001/XMLSchema" xmlns:p="http://schemas.microsoft.com/office/2006/metadata/properties" xmlns:ns2="4d70f775-b816-4d34-b2bf-d63fcbaa68fe" xmlns:ns3="87ad8935-3998-4376-9c88-a9a7e5e06e07" targetNamespace="http://schemas.microsoft.com/office/2006/metadata/properties" ma:root="true" ma:fieldsID="ad15c58aaea7d891d691dea86029fcee" ns2:_="" ns3:_="">
    <xsd:import namespace="4d70f775-b816-4d34-b2bf-d63fcbaa68fe"/>
    <xsd:import namespace="87ad8935-3998-4376-9c88-a9a7e5e06e07"/>
    <xsd:element name="properties">
      <xsd:complexType>
        <xsd:sequence>
          <xsd:element name="documentManagement">
            <xsd:complexType>
              <xsd:all>
                <xsd:element ref="ns2:SharedWithUsers" minOccurs="0"/>
                <xsd:element ref="ns2:SharedWithDetails" minOccurs="0"/>
                <xsd:element ref="ns3:Category"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70f775-b816-4d34-b2bf-d63fcbaa68f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7ad8935-3998-4376-9c88-a9a7e5e06e07" elementFormDefault="qualified">
    <xsd:import namespace="http://schemas.microsoft.com/office/2006/documentManagement/types"/>
    <xsd:import namespace="http://schemas.microsoft.com/office/infopath/2007/PartnerControls"/>
    <xsd:element name="Category" ma:index="10" nillable="true" ma:displayName="Category" ma:default="MPii" ma:format="Dropdown" ma:internalName="Category">
      <xsd:simpleType>
        <xsd:restriction base="dms:Choice">
          <xsd:enumeration value="MPii"/>
          <xsd:enumeration value="OPTIONS"/>
        </xsd:restriction>
      </xsd:simpleType>
    </xsd:element>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egory xmlns="87ad8935-3998-4376-9c88-a9a7e5e06e07">OPTIONS</Category>
  </documentManagement>
</p:properties>
</file>

<file path=customXml/itemProps1.xml><?xml version="1.0" encoding="utf-8"?>
<ds:datastoreItem xmlns:ds="http://schemas.openxmlformats.org/officeDocument/2006/customXml" ds:itemID="{9D829120-DCDD-40E8-8D25-D53096A378F4}">
  <ds:schemaRefs>
    <ds:schemaRef ds:uri="http://schemas.microsoft.com/sharepoint/v3/contenttype/forms"/>
  </ds:schemaRefs>
</ds:datastoreItem>
</file>

<file path=customXml/itemProps2.xml><?xml version="1.0" encoding="utf-8"?>
<ds:datastoreItem xmlns:ds="http://schemas.openxmlformats.org/officeDocument/2006/customXml" ds:itemID="{FB354201-E8E7-4461-BC05-C5494F89A5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70f775-b816-4d34-b2bf-d63fcbaa68fe"/>
    <ds:schemaRef ds:uri="87ad8935-3998-4376-9c88-a9a7e5e06e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CE9765D-E8FD-4451-8864-895BE511348C}">
  <ds:schemaRefs>
    <ds:schemaRef ds:uri="http://purl.org/dc/elements/1.1/"/>
    <ds:schemaRef ds:uri="http://schemas.microsoft.com/office/2006/metadata/properties"/>
    <ds:schemaRef ds:uri="4d70f775-b816-4d34-b2bf-d63fcbaa68fe"/>
    <ds:schemaRef ds:uri="http://purl.org/dc/terms/"/>
    <ds:schemaRef ds:uri="87ad8935-3998-4376-9c88-a9a7e5e06e07"/>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715</TotalTime>
  <Words>1537</Words>
  <Application>Microsoft Macintosh PowerPoint</Application>
  <PresentationFormat>On-screen Show (4:3)</PresentationFormat>
  <Paragraphs>244</Paragraphs>
  <Slides>26</Slides>
  <Notes>15</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6</vt:i4>
      </vt:variant>
    </vt:vector>
  </HeadingPairs>
  <TitlesOfParts>
    <vt:vector size="35" baseType="lpstr">
      <vt:lpstr>Arial</vt:lpstr>
      <vt:lpstr>Arial Black</vt:lpstr>
      <vt:lpstr>Calibri</vt:lpstr>
      <vt:lpstr>Courier New</vt:lpstr>
      <vt:lpstr>Gill Sans MT</vt:lpstr>
      <vt:lpstr>Helvetica Light</vt:lpstr>
      <vt:lpstr>Times New Roman</vt:lpstr>
      <vt:lpstr>Office Theme</vt:lpstr>
      <vt:lpstr>FHI 360 Theme</vt:lpstr>
      <vt:lpstr>PowerPoint Presentation</vt:lpstr>
      <vt:lpstr>Microbicide Product Introduction Initiative (MPii)</vt:lpstr>
      <vt:lpstr>PowerPoint Presentation</vt:lpstr>
      <vt:lpstr>Pre-Exposure Prophylaxis</vt:lpstr>
      <vt:lpstr>PrEP</vt:lpstr>
      <vt:lpstr>Direct protection: cost-effectiveness</vt:lpstr>
      <vt:lpstr>Indirect protection</vt:lpstr>
      <vt:lpstr>Questions</vt:lpstr>
      <vt:lpstr>Choice of EMOD-HIV</vt:lpstr>
      <vt:lpstr>Introducing EMOD-HIV</vt:lpstr>
      <vt:lpstr>PowerPoint Presentation</vt:lpstr>
      <vt:lpstr>EMOD-HIV model components</vt:lpstr>
      <vt:lpstr>EMOD-HIV: sexual behavior and network</vt:lpstr>
      <vt:lpstr>PowerPoint Presentation</vt:lpstr>
      <vt:lpstr>PowerPoint Presentation</vt:lpstr>
      <vt:lpstr>First draft model analyses Zimbabwe (currently working on Kenya)</vt:lpstr>
      <vt:lpstr>EMOD-HIV: fitting HIV prevalence by province</vt:lpstr>
      <vt:lpstr>EMOD-HIV: fitting HIV prevalence by age</vt:lpstr>
      <vt:lpstr>Oral PrEP subpopulation analysis: scenarios considered</vt:lpstr>
      <vt:lpstr>Impact: oral PrEP for different subpopulations</vt:lpstr>
      <vt:lpstr>Cost-effectiveness: oral PrEP for different subpopulations in Zimbabwe </vt:lpstr>
      <vt:lpstr>Results: community benefit of oral PrEP</vt:lpstr>
      <vt:lpstr>Preliminary conclusions</vt:lpstr>
      <vt:lpstr>How to use the results</vt:lpstr>
      <vt:lpstr>Rollout Scenarios – Approach 1 Completed Example of Kenya</vt:lpstr>
      <vt:lpstr>Resources and Tools available on PrEPWatch.org*</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j</dc:creator>
  <cp:lastModifiedBy>Graham Medley</cp:lastModifiedBy>
  <cp:revision>330</cp:revision>
  <dcterms:created xsi:type="dcterms:W3CDTF">2015-05-29T10:17:29Z</dcterms:created>
  <dcterms:modified xsi:type="dcterms:W3CDTF">2018-04-16T13:3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D54E796100790B46BFD2290577CAC8F3</vt:lpwstr>
  </property>
</Properties>
</file>